
<file path=[Content_Types].xml><?xml version="1.0" encoding="utf-8"?>
<Types xmlns="http://schemas.openxmlformats.org/package/2006/content-types"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731" r:id="rId4"/>
  </p:sldMasterIdLst>
  <p:notesMasterIdLst>
    <p:notesMasterId r:id="rId12"/>
  </p:notesMasterIdLst>
  <p:handoutMasterIdLst>
    <p:handoutMasterId r:id="rId13"/>
  </p:handoutMasterIdLst>
  <p:sldIdLst>
    <p:sldId id="962" r:id="rId5"/>
    <p:sldId id="951" r:id="rId6"/>
    <p:sldId id="944" r:id="rId7"/>
    <p:sldId id="963" r:id="rId8"/>
    <p:sldId id="518" r:id="rId9"/>
    <p:sldId id="1849" r:id="rId10"/>
    <p:sldId id="1850" r:id="rId11"/>
  </p:sldIdLst>
  <p:sldSz cx="12195175" cy="6858000"/>
  <p:notesSz cx="6858000" cy="9144000"/>
  <p:custDataLst>
    <p:tags r:id="rId14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90" userDrawn="1">
          <p15:clr>
            <a:srgbClr val="A4A3A4"/>
          </p15:clr>
        </p15:guide>
        <p15:guide id="3" orient="horz" pos="255" userDrawn="1">
          <p15:clr>
            <a:srgbClr val="A4A3A4"/>
          </p15:clr>
        </p15:guide>
        <p15:guide id="5" orient="horz" pos="3974" userDrawn="1">
          <p15:clr>
            <a:srgbClr val="A4A3A4"/>
          </p15:clr>
        </p15:guide>
        <p15:guide id="6" pos="3705" userDrawn="1">
          <p15:clr>
            <a:srgbClr val="A4A3A4"/>
          </p15:clr>
        </p15:guide>
        <p15:guide id="7" pos="3977" userDrawn="1">
          <p15:clr>
            <a:srgbClr val="A4A3A4"/>
          </p15:clr>
        </p15:guide>
        <p15:guide id="8" pos="7424" userDrawn="1">
          <p15:clr>
            <a:srgbClr val="A4A3A4"/>
          </p15:clr>
        </p15:guide>
        <p15:guide id="9" pos="258" userDrawn="1">
          <p15:clr>
            <a:srgbClr val="A4A3A4"/>
          </p15:clr>
        </p15:guide>
        <p15:guide id="10" orient="horz" pos="1298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  <p15:guide id="3" orient="horz" pos="2971">
          <p15:clr>
            <a:srgbClr val="A4A3A4"/>
          </p15:clr>
        </p15:guide>
        <p15:guide id="4" pos="119">
          <p15:clr>
            <a:srgbClr val="A4A3A4"/>
          </p15:clr>
        </p15:guide>
        <p15:guide id="5" pos="420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 scaleToFitPaper="1"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9E9E9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F39B2CAA-1A15-407F-99DE-F99985EEE35F}" styleName="UI AS1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99ABD0"/>
          </a:solidFill>
        </a:fill>
      </a:tcStyle>
    </a:band1V>
    <a:band2V>
      <a:tcStyle>
        <a:tcBdr/>
        <a:fill>
          <a:solidFill>
            <a:srgbClr val="C8D5E7"/>
          </a:solidFill>
        </a:fill>
      </a:tcStyle>
    </a:band2V>
    <a:firstRow>
      <a:tcTxStyle b="on"/>
      <a:tcStyle>
        <a:tcBdr/>
      </a:tcStyle>
    </a:firstRow>
  </a:tblStyle>
  <a:tblStyle styleId="{30D8C818-C6F1-4154-B738-128AF0B8612A}" styleName="UI AS1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C8D5E7"/>
          </a:solidFill>
        </a:fill>
      </a:tcStyle>
    </a:band1V>
    <a:band2V>
      <a:tcStyle>
        <a:tcBdr/>
        <a:fill>
          <a:solidFill>
            <a:srgbClr val="FFFFFF"/>
          </a:solidFill>
        </a:fill>
      </a:tcStyle>
    </a:band2V>
    <a:firstRow>
      <a:tcTxStyle b="on"/>
      <a:tcStyle>
        <a:tcBdr/>
      </a:tcStyle>
    </a:firstRow>
  </a:tblStyle>
  <a:tblStyle styleId="{1E3A0169-6674-4C20-A82E-6037CBC8BB7D}" styleName="UI AS2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C3C3C3"/>
          </a:solidFill>
        </a:fill>
      </a:tcStyle>
    </a:band1V>
    <a:band2V>
      <a:tcStyle>
        <a:tcBdr/>
        <a:fill>
          <a:solidFill>
            <a:srgbClr val="E9E9E9"/>
          </a:solidFill>
        </a:fill>
      </a:tcStyle>
    </a:band2V>
    <a:firstRow>
      <a:tcTxStyle b="on"/>
      <a:tcStyle>
        <a:tcBdr/>
      </a:tcStyle>
    </a:firstRow>
  </a:tblStyle>
  <a:tblStyle styleId="{5DD8936B-8AD9-4A24-9442-D502FB0A1F22}" styleName="UI AS2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E9E9E9"/>
          </a:solidFill>
        </a:fill>
      </a:tcStyle>
    </a:band1V>
    <a:band2V>
      <a:tcStyle>
        <a:tcBdr/>
        <a:fill>
          <a:solidFill>
            <a:srgbClr val="FFFFFF"/>
          </a:solidFill>
        </a:fill>
      </a:tcStyle>
    </a:band2V>
    <a:firstRow>
      <a:tcTxStyle b="on"/>
      <a:tcStyle>
        <a:tcBdr/>
      </a:tcStyle>
    </a:firstRow>
  </a:tblStyle>
  <a:tblStyle styleId="{03D87EAF-2353-4199-8FB8-0BD005B3FF13}" styleName="UI AZ1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C8D5E7"/>
          </a:solidFill>
        </a:fill>
      </a:tcStyle>
    </a:band1H>
    <a:band2H>
      <a:tcStyle>
        <a:tcBdr/>
        <a:fill>
          <a:solidFill>
            <a:srgbClr val="99ABD0"/>
          </a:solidFill>
        </a:fill>
      </a:tcStyle>
    </a:band2H>
    <a:firstRow>
      <a:tcTxStyle b="on"/>
      <a:tcStyle>
        <a:tcBdr/>
        <a:fill>
          <a:solidFill>
            <a:srgbClr val="99ABD0"/>
          </a:solidFill>
        </a:fill>
      </a:tcStyle>
    </a:firstRow>
  </a:tblStyle>
  <a:tblStyle styleId="{32300EB3-721E-4E5C-B44C-291C0DC6C459}" styleName="UI AZ1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FFFFFF"/>
          </a:solidFill>
        </a:fill>
      </a:tcStyle>
    </a:band1H>
    <a:band2H>
      <a:tcStyle>
        <a:tcBdr/>
        <a:fill>
          <a:solidFill>
            <a:srgbClr val="C8D5E7"/>
          </a:solidFill>
        </a:fill>
      </a:tcStyle>
    </a:band2H>
    <a:firstRow>
      <a:tcTxStyle b="on"/>
      <a:tcStyle>
        <a:tcBdr/>
        <a:fill>
          <a:solidFill>
            <a:srgbClr val="C8D5E7"/>
          </a:solidFill>
        </a:fill>
      </a:tcStyle>
    </a:firstRow>
  </a:tblStyle>
  <a:tblStyle styleId="{7BD0280F-D6A3-4600-AC20-75A76A8F6356}" styleName="UI AZ2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E9E9E9"/>
          </a:solidFill>
        </a:fill>
      </a:tcStyle>
    </a:band1H>
    <a:band2H>
      <a:tcStyle>
        <a:tcBdr/>
        <a:fill>
          <a:solidFill>
            <a:srgbClr val="C3C3C3"/>
          </a:solidFill>
        </a:fill>
      </a:tcStyle>
    </a:band2H>
    <a:firstRow>
      <a:tcTxStyle b="on"/>
      <a:tcStyle>
        <a:tcBdr/>
        <a:fill>
          <a:solidFill>
            <a:srgbClr val="C3C3C3"/>
          </a:solidFill>
        </a:fill>
      </a:tcStyle>
    </a:firstRow>
  </a:tblStyle>
  <a:tblStyle styleId="{E33E3997-E29A-42EE-9B7F-5C0F9CD0EB87}" styleName="UI AZ2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9525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FFFFFF"/>
          </a:solidFill>
        </a:fill>
      </a:tcStyle>
    </a:band1H>
    <a:band2H>
      <a:tcStyle>
        <a:tcBdr/>
        <a:fill>
          <a:solidFill>
            <a:srgbClr val="E9E9E9"/>
          </a:solidFill>
        </a:fill>
      </a:tcStyle>
    </a:band2H>
    <a:firstRow>
      <a:tcTxStyle b="on"/>
      <a:tcStyle>
        <a:tcBdr/>
        <a:fill>
          <a:solidFill>
            <a:srgbClr val="E9E9E9"/>
          </a:solidFill>
        </a:fill>
      </a:tcStyle>
    </a:firstRow>
  </a:tblStyle>
  <a:tblStyle styleId="{DECBC435-4BFA-4176-8E2B-C89B1E963627}" styleName="UI B1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99ABD0"/>
          </a:solidFill>
        </a:fill>
      </a:tcStyle>
    </a:band1V>
    <a:band2V>
      <a:tcStyle>
        <a:tcBdr/>
        <a:fill>
          <a:solidFill>
            <a:srgbClr val="C8D5E7"/>
          </a:solidFill>
        </a:fill>
      </a:tcStyle>
    </a:band2V>
    <a:firstRow>
      <a:tcTxStyle b="on"/>
      <a:tcStyle>
        <a:tcBdr/>
      </a:tcStyle>
    </a:firstRow>
  </a:tblStyle>
  <a:tblStyle styleId="{78C723AF-3EF7-4CB0-A07A-FA22C3DA67E6}" styleName="UI B1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C8D5E7"/>
          </a:solidFill>
        </a:fill>
      </a:tcStyle>
    </a:band1V>
    <a:band2V>
      <a:tcStyle>
        <a:tcBdr/>
        <a:fill>
          <a:solidFill>
            <a:srgbClr val="FFFFFF"/>
          </a:solidFill>
        </a:fill>
      </a:tcStyle>
    </a:band2V>
    <a:firstRow>
      <a:tcTxStyle b="on"/>
      <a:tcStyle>
        <a:tcBdr/>
      </a:tcStyle>
    </a:firstRow>
  </a:tblStyle>
  <a:tblStyle styleId="{11F655A5-072F-4134-96FA-BC43747E6B31}" styleName="UI B2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C3C3C3"/>
          </a:solidFill>
        </a:fill>
      </a:tcStyle>
    </a:band1V>
    <a:band2V>
      <a:tcStyle>
        <a:tcBdr/>
        <a:fill>
          <a:solidFill>
            <a:srgbClr val="E9E9E9"/>
          </a:solidFill>
        </a:fill>
      </a:tcStyle>
    </a:band2V>
    <a:firstRow>
      <a:tcTxStyle b="on"/>
      <a:tcStyle>
        <a:tcBdr/>
      </a:tcStyle>
    </a:firstRow>
  </a:tblStyle>
  <a:tblStyle styleId="{50BB10BF-A844-40C1-9722-E969FFAFA2FA}" styleName="UI B2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V>
      <a:tcStyle>
        <a:tcBdr/>
        <a:fill>
          <a:solidFill>
            <a:srgbClr val="E9E9E9"/>
          </a:solidFill>
        </a:fill>
      </a:tcStyle>
    </a:band1V>
    <a:band2V>
      <a:tcStyle>
        <a:tcBdr/>
        <a:fill>
          <a:solidFill>
            <a:srgbClr val="FFFFFF"/>
          </a:solidFill>
        </a:fill>
      </a:tcStyle>
    </a:band2V>
    <a:firstRow>
      <a:tcTxStyle b="on"/>
      <a:tcStyle>
        <a:tcBdr/>
      </a:tcStyle>
    </a:firstRow>
  </a:tblStyle>
  <a:tblStyle styleId="{BBD97146-8F87-4247-B9E0-91C8AB984768}" styleName="UI B3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C8D5E7"/>
          </a:solidFill>
        </a:fill>
      </a:tcStyle>
    </a:band1H>
    <a:band2H>
      <a:tcStyle>
        <a:tcBdr/>
        <a:fill>
          <a:solidFill>
            <a:srgbClr val="99ABD0"/>
          </a:solidFill>
        </a:fill>
      </a:tcStyle>
    </a:band2H>
    <a:firstRow>
      <a:tcTxStyle b="on"/>
      <a:tcStyle>
        <a:tcBdr/>
        <a:fill>
          <a:solidFill>
            <a:srgbClr val="99ABD0"/>
          </a:solidFill>
        </a:fill>
      </a:tcStyle>
    </a:firstRow>
  </a:tblStyle>
  <a:tblStyle styleId="{A56AA7E0-29E0-4BE1-AD48-241CBFE3988C}" styleName="UI B3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FFFFFF"/>
          </a:solidFill>
        </a:fill>
      </a:tcStyle>
    </a:band1H>
    <a:band2H>
      <a:tcStyle>
        <a:tcBdr/>
        <a:fill>
          <a:solidFill>
            <a:srgbClr val="C8D5E7"/>
          </a:solidFill>
        </a:fill>
      </a:tcStyle>
    </a:band2H>
    <a:firstRow>
      <a:tcTxStyle b="on"/>
      <a:tcStyle>
        <a:tcBdr/>
        <a:fill>
          <a:solidFill>
            <a:srgbClr val="C8D5E7"/>
          </a:solidFill>
        </a:fill>
      </a:tcStyle>
    </a:firstRow>
  </a:tblStyle>
  <a:tblStyle styleId="{7FD5DF03-8828-4938-BAE5-2F185645D6C1}" styleName="UI B4_1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E9E9E9"/>
          </a:solidFill>
        </a:fill>
      </a:tcStyle>
    </a:band1H>
    <a:band2H>
      <a:tcStyle>
        <a:tcBdr/>
        <a:fill>
          <a:solidFill>
            <a:srgbClr val="C3C3C3"/>
          </a:solidFill>
        </a:fill>
      </a:tcStyle>
    </a:band2H>
    <a:firstRow>
      <a:tcTxStyle b="on"/>
      <a:tcStyle>
        <a:tcBdr/>
        <a:fill>
          <a:solidFill>
            <a:srgbClr val="C3C3C3"/>
          </a:solidFill>
        </a:fill>
      </a:tcStyle>
    </a:firstRow>
  </a:tblStyle>
  <a:tblStyle styleId="{40F471EE-0B99-41AF-979A-2B282E7158E4}" styleName="UI B4_2">
    <a:wholeTbl>
      <a:tcStyle>
        <a:tcBdr>
          <a:left>
            <a:ln w="9525" cmpd="sng">
              <a:solidFill>
                <a:srgbClr val="888888">
                  <a:alpha val="0"/>
                </a:srgbClr>
              </a:solidFill>
            </a:ln>
          </a:left>
          <a:right>
            <a:ln w="9525" cmpd="sng">
              <a:solidFill>
                <a:srgbClr val="888888">
                  <a:alpha val="0"/>
                </a:srgbClr>
              </a:solidFill>
            </a:ln>
          </a:right>
          <a:top>
            <a:ln w="9525" cmpd="sng">
              <a:solidFill>
                <a:srgbClr val="888888"/>
              </a:solidFill>
            </a:ln>
          </a:top>
          <a:bottom>
            <a:ln w="9525" cmpd="sng">
              <a:solidFill>
                <a:srgbClr val="888888"/>
              </a:solidFill>
            </a:ln>
          </a:bottom>
          <a:insideH>
            <a:ln w="9525" cmpd="sng">
              <a:solidFill>
                <a:srgbClr val="888888"/>
              </a:solidFill>
            </a:ln>
          </a:insideH>
          <a:insideV>
            <a:ln w="0" cmpd="sng">
              <a:solidFill>
                <a:srgbClr val="888888"/>
              </a:solidFill>
            </a:ln>
          </a:insideV>
        </a:tcBdr>
      </a:tcStyle>
    </a:wholeTbl>
    <a:band1H>
      <a:tcStyle>
        <a:tcBdr/>
        <a:fill>
          <a:solidFill>
            <a:srgbClr val="FFFFFF"/>
          </a:solidFill>
        </a:fill>
      </a:tcStyle>
    </a:band1H>
    <a:band2H>
      <a:tcStyle>
        <a:tcBdr/>
        <a:fill>
          <a:solidFill>
            <a:srgbClr val="E9E9E9"/>
          </a:solidFill>
        </a:fill>
      </a:tcStyle>
    </a:band2H>
    <a:firstRow>
      <a:tcTxStyle b="on"/>
      <a:tcStyle>
        <a:tcBdr/>
        <a:fill>
          <a:solidFill>
            <a:srgbClr val="E9E9E9"/>
          </a:solidFill>
        </a:fill>
      </a:tcStyle>
    </a:firstRow>
  </a:tblStyle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27958" autoAdjust="0"/>
    <p:restoredTop sz="90834" autoAdjust="0"/>
  </p:normalViewPr>
  <p:slideViewPr>
    <p:cSldViewPr snapToObjects="1" showGuides="1">
      <p:cViewPr varScale="1">
        <p:scale>
          <a:sx n="69" d="100"/>
          <a:sy n="69" d="100"/>
        </p:scale>
        <p:origin x="552" y="58"/>
      </p:cViewPr>
      <p:guideLst>
        <p:guide orient="horz" pos="890"/>
        <p:guide orient="horz" pos="255"/>
        <p:guide orient="horz" pos="3974"/>
        <p:guide pos="3705"/>
        <p:guide pos="3977"/>
        <p:guide pos="7424"/>
        <p:guide pos="258"/>
        <p:guide orient="horz" pos="1298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4" d="100"/>
          <a:sy n="84" d="100"/>
        </p:scale>
        <p:origin x="3828" y="90"/>
      </p:cViewPr>
      <p:guideLst>
        <p:guide orient="horz" pos="2880"/>
        <p:guide pos="2160"/>
        <p:guide orient="horz" pos="2971"/>
        <p:guide pos="119"/>
        <p:guide pos="420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handoutMaster" Target="handoutMasters/handoutMaster1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notesMaster" Target="notesMasters/notesMaster1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presProps" Target="presProps.xml"/><Relationship Id="rId10" Type="http://schemas.openxmlformats.org/officeDocument/2006/relationships/slide" Target="slides/slide6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noFill/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6C11-4FF6-A1E4-2C12B31EA288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6C11-4FF6-A1E4-2C12B31EA28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72</c:v>
                </c:pt>
                <c:pt idx="1">
                  <c:v>2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6C11-4FF6-A1E4-2C12B31EA2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noFill/>
            <a:ln>
              <a:noFill/>
            </a:ln>
          </c:spPr>
          <c:dPt>
            <c:idx val="0"/>
            <c:bubble3D val="0"/>
            <c:spPr>
              <a:solidFill>
                <a:schemeClr val="accent2"/>
              </a:solidFill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FE42-42D4-BEF0-10EBD3381718}"/>
              </c:ext>
            </c:extLst>
          </c:dPt>
          <c:dPt>
            <c:idx val="1"/>
            <c:bubble3D val="0"/>
            <c:spPr>
              <a:noFill/>
              <a:ln w="19050"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FE42-42D4-BEF0-10EBD3381718}"/>
              </c:ext>
            </c:extLst>
          </c:dPt>
          <c:cat>
            <c:strRef>
              <c:f>Tabelle1!$A$2:$A$3</c:f>
              <c:strCache>
                <c:ptCount val="2"/>
                <c:pt idx="0">
                  <c:v>1. Quartal</c:v>
                </c:pt>
                <c:pt idx="1">
                  <c:v>2. Quartal</c:v>
                </c:pt>
              </c:strCache>
            </c:strRef>
          </c:cat>
          <c:val>
            <c:numRef>
              <c:f>Tabelle1!$B$2:$B$3</c:f>
              <c:numCache>
                <c:formatCode>General</c:formatCode>
                <c:ptCount val="2"/>
                <c:pt idx="0">
                  <c:v>67</c:v>
                </c:pt>
                <c:pt idx="1">
                  <c:v>3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FE42-42D4-BEF0-10EBD338171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32474832598067832"/>
          <c:y val="7.6987857062614268E-2"/>
          <c:w val="0.53806318883547144"/>
          <c:h val="0.86594340104374112"/>
        </c:manualLayout>
      </c:layout>
      <c:doughnutChart>
        <c:varyColors val="1"/>
        <c:ser>
          <c:idx val="0"/>
          <c:order val="0"/>
          <c:tx>
            <c:strRef>
              <c:f>Tabelle1!$B$1</c:f>
              <c:strCache>
                <c:ptCount val="1"/>
                <c:pt idx="0">
                  <c:v>Verkauf</c:v>
                </c:pt>
              </c:strCache>
            </c:strRef>
          </c:tx>
          <c:spPr>
            <a:solidFill>
              <a:srgbClr val="C3C3C3"/>
            </a:solidFill>
            <a:ln w="9525">
              <a:solidFill>
                <a:schemeClr val="bg1"/>
              </a:solidFill>
            </a:ln>
          </c:spPr>
          <c:dPt>
            <c:idx val="0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4A4-4E38-A2C2-13B5B35F1F63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E935-4175-B965-2052F3EB4D0A}"/>
              </c:ext>
            </c:extLst>
          </c:dPt>
          <c:dPt>
            <c:idx val="2"/>
            <c:bubble3D val="0"/>
            <c:spPr>
              <a:solidFill>
                <a:srgbClr val="FED210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4-E935-4175-B965-2052F3EB4D0A}"/>
              </c:ext>
            </c:extLst>
          </c:dPt>
          <c:dPt>
            <c:idx val="3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E935-4175-B965-2052F3EB4D0A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6-E935-4175-B965-2052F3EB4D0A}"/>
              </c:ext>
            </c:extLst>
          </c:dPt>
          <c:dPt>
            <c:idx val="5"/>
            <c:bubble3D val="0"/>
            <c:spPr>
              <a:solidFill>
                <a:srgbClr val="C3C3C3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E935-4175-B965-2052F3EB4D0A}"/>
              </c:ext>
            </c:extLst>
          </c:dPt>
          <c:dPt>
            <c:idx val="6"/>
            <c:bubble3D val="0"/>
            <c:spPr>
              <a:solidFill>
                <a:srgbClr val="C3C3C3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8-E935-4175-B965-2052F3EB4D0A}"/>
              </c:ext>
            </c:extLst>
          </c:dPt>
          <c:dPt>
            <c:idx val="7"/>
            <c:bubble3D val="0"/>
            <c:spPr>
              <a:solidFill>
                <a:srgbClr val="C3C3C3"/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E935-4175-B965-2052F3EB4D0A}"/>
              </c:ext>
            </c:extLst>
          </c:dPt>
          <c:dPt>
            <c:idx val="8"/>
            <c:bubble3D val="0"/>
            <c:spPr>
              <a:solidFill>
                <a:schemeClr val="accent5">
                  <a:lumMod val="40000"/>
                  <a:lumOff val="60000"/>
                </a:schemeClr>
              </a:solidFill>
              <a:ln w="9525">
                <a:solidFill>
                  <a:schemeClr val="bg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A-E935-4175-B965-2052F3EB4D0A}"/>
              </c:ext>
            </c:extLst>
          </c:dPt>
          <c:cat>
            <c:strRef>
              <c:f>Tabelle1!$A$2:$A$10</c:f>
              <c:strCache>
                <c:ptCount val="9"/>
                <c:pt idx="0">
                  <c:v>Deutschland</c:v>
                </c:pt>
                <c:pt idx="1">
                  <c:v>USA</c:v>
                </c:pt>
                <c:pt idx="2">
                  <c:v>Frankreich</c:v>
                </c:pt>
                <c:pt idx="3">
                  <c:v>Großbritannien</c:v>
                </c:pt>
                <c:pt idx="4">
                  <c:v>Niederlande</c:v>
                </c:pt>
                <c:pt idx="5">
                  <c:v>Polen</c:v>
                </c:pt>
                <c:pt idx="6">
                  <c:v>Österreich</c:v>
                </c:pt>
                <c:pt idx="7">
                  <c:v>Irland</c:v>
                </c:pt>
                <c:pt idx="8">
                  <c:v>Sonstige</c:v>
                </c:pt>
              </c:strCache>
            </c:strRef>
          </c:cat>
          <c:val>
            <c:numRef>
              <c:f>Tabelle1!$B$2:$B$10</c:f>
              <c:numCache>
                <c:formatCode>General</c:formatCode>
                <c:ptCount val="9"/>
                <c:pt idx="0">
                  <c:v>41.8</c:v>
                </c:pt>
                <c:pt idx="1">
                  <c:v>13.2</c:v>
                </c:pt>
                <c:pt idx="2">
                  <c:v>8.6999999999999993</c:v>
                </c:pt>
                <c:pt idx="3">
                  <c:v>6.8</c:v>
                </c:pt>
                <c:pt idx="4">
                  <c:v>5.2</c:v>
                </c:pt>
                <c:pt idx="5">
                  <c:v>4.5999999999999996</c:v>
                </c:pt>
                <c:pt idx="6">
                  <c:v>2.9</c:v>
                </c:pt>
                <c:pt idx="7">
                  <c:v>2.1</c:v>
                </c:pt>
                <c:pt idx="8">
                  <c:v>14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E935-4175-B965-2052F3EB4D0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60"/>
        <c:holeSize val="7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e-DE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5603B79-9BF5-4C61-AF4B-3E3651CE1574}" type="datetimeFigureOut">
              <a:rPr lang="de-DE"/>
              <a:t>21.09.2022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  <a:ln>
            <a:noFill/>
          </a:ln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20D8548-CBEA-4F0E-AE33-C9036DC36070}" type="slidenum">
              <a:rPr lang="de-DE"/>
              <a:t>‹Nr.›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8331334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8543454-F04F-40F8-A629-192B1E168B36}" type="datetimeFigureOut">
              <a:rPr lang="de-DE"/>
              <a:pPr/>
              <a:t>21.09.2022</a:t>
            </a:fld>
            <a:endParaRPr lang="de-DE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89000" y="683568"/>
            <a:ext cx="6480000" cy="3644999"/>
          </a:xfrm>
          <a:prstGeom prst="rect">
            <a:avLst/>
          </a:prstGeom>
          <a:noFill/>
          <a:ln w="12700">
            <a:solidFill>
              <a:schemeClr val="bg1"/>
            </a:solidFill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de-DE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0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6DC374-C861-474F-A939-BEDE4D9BCDAD}" type="slidenum">
              <a:rPr lang="de-DE"/>
              <a:pPr/>
              <a:t>‹Nr.›</a:t>
            </a:fld>
            <a:endParaRPr lang="de-DE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189000" y="4715566"/>
            <a:ext cx="6480000" cy="360045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/>
              <a:t>Formatvorlagen des Textmasters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</p:spTree>
    <p:extLst>
      <p:ext uri="{BB962C8B-B14F-4D97-AF65-F5344CB8AC3E}">
        <p14:creationId xmlns:p14="http://schemas.microsoft.com/office/powerpoint/2010/main" val="62295482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1200"/>
      </a:spcBef>
      <a:defRPr lang="de-DE" sz="1200" b="0" kern="1200" dirty="0">
        <a:solidFill>
          <a:schemeClr val="tx2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0" indent="0" algn="l" defTabSz="914400" rtl="0" eaLnBrk="1" latinLnBrk="0" hangingPunct="1">
      <a:spcBef>
        <a:spcPts val="600"/>
      </a:spcBef>
      <a:defRPr lang="de-DE" sz="1200" kern="1200" dirty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80000" indent="-180000" algn="l" defTabSz="914400" rtl="0" eaLnBrk="1" latinLnBrk="0" hangingPunct="1">
      <a:spcBef>
        <a:spcPts val="600"/>
      </a:spcBef>
      <a:buClr>
        <a:schemeClr val="tx1"/>
      </a:buClr>
      <a:buFont typeface="Wingdings" panose="05000000000000000000" pitchFamily="2" charset="2"/>
      <a:buChar char=""/>
      <a:defRPr lang="de-DE" sz="1200" kern="1200" dirty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360000" indent="-180000" algn="l" defTabSz="914400" rtl="0" eaLnBrk="1" latinLnBrk="0" hangingPunct="1">
      <a:spcBef>
        <a:spcPts val="400"/>
      </a:spcBef>
      <a:buFont typeface="Arial" panose="020B0604020202020204" pitchFamily="34" charset="0"/>
      <a:buChar char="•"/>
      <a:defRPr lang="de-DE" sz="1200" kern="1200" dirty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576000" indent="-216000" algn="l" defTabSz="914400" rtl="0" eaLnBrk="1" latinLnBrk="0" hangingPunct="1">
      <a:spcBef>
        <a:spcPts val="4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576000" indent="-216000" algn="l" defTabSz="914400" rtl="0" eaLnBrk="1" latinLnBrk="0" hangingPunct="1">
      <a:spcBef>
        <a:spcPts val="4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+mn-lt"/>
        <a:ea typeface="+mn-ea"/>
        <a:cs typeface="+mn-cs"/>
      </a:defRPr>
    </a:lvl6pPr>
    <a:lvl7pPr marL="576000" indent="-216000" algn="l" defTabSz="914400" rtl="0" eaLnBrk="1" latinLnBrk="0" hangingPunct="1">
      <a:spcBef>
        <a:spcPts val="400"/>
      </a:spcBef>
      <a:buFont typeface="Symbol" panose="05050102010706020507" pitchFamily="18" charset="2"/>
      <a:buChar char="-"/>
      <a:defRPr lang="de-DE" sz="1200" kern="1200" baseline="0" dirty="0">
        <a:solidFill>
          <a:schemeClr val="tx1"/>
        </a:solidFill>
        <a:latin typeface="+mn-lt"/>
        <a:ea typeface="+mn-ea"/>
        <a:cs typeface="+mn-cs"/>
      </a:defRPr>
    </a:lvl7pPr>
    <a:lvl8pPr marL="576000" indent="-216000" algn="l" defTabSz="914400" rtl="0" eaLnBrk="1" latinLnBrk="0" hangingPunct="1">
      <a:spcBef>
        <a:spcPts val="4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+mn-lt"/>
        <a:ea typeface="+mn-ea"/>
        <a:cs typeface="+mn-cs"/>
      </a:defRPr>
    </a:lvl8pPr>
    <a:lvl9pPr marL="576000" indent="-216000" algn="l" defTabSz="914400" rtl="0" eaLnBrk="1" latinLnBrk="0" hangingPunct="1">
      <a:spcBef>
        <a:spcPts val="4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88913" y="684213"/>
            <a:ext cx="6480175" cy="36449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DC374-C861-474F-A939-BEDE4D9BCDAD}" type="slidenum">
              <a:rPr lang="de-DE" smtClean="0"/>
              <a:pPr/>
              <a:t>5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172804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88913" y="684213"/>
            <a:ext cx="6480175" cy="36449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DC374-C861-474F-A939-BEDE4D9BCDAD}" type="slidenum">
              <a:rPr lang="de-DE" smtClean="0"/>
              <a:pPr/>
              <a:t>6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03379683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>
          <a:xfrm>
            <a:off x="188913" y="684213"/>
            <a:ext cx="6480175" cy="3644900"/>
          </a:xfrm>
        </p:spPr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B6DC374-C861-474F-A939-BEDE4D9BCDAD}" type="slidenum">
              <a:rPr lang="de-DE" smtClean="0"/>
              <a:pPr/>
              <a:t>7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9092114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1.emf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emf"/><Relationship Id="rId2" Type="http://schemas.openxmlformats.org/officeDocument/2006/relationships/image" Target="../media/image4.emf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und positi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6">
            <a:extLst>
              <a:ext uri="{FF2B5EF4-FFF2-40B4-BE49-F238E27FC236}">
                <a16:creationId xmlns:a16="http://schemas.microsoft.com/office/drawing/2014/main" id="{4870B9C8-84BA-4064-8D52-EB6D8BB2C90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6763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2520000" tIns="72000" rIns="72000" bIns="7200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Dieses Layout steht in zwei Varianten zur Verfügung: mit positivem und negativem Partnerlogo. Bitte wählen Sie das Layout aus, welches den bestmöglichen Kontrast zwischen Bild und Logo erzeugt.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58F070F6-CDDE-4C67-9078-9184F9E3EE0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629999" y="1"/>
            <a:ext cx="11565176" cy="4222561"/>
          </a:xfrm>
          <a:custGeom>
            <a:avLst/>
            <a:gdLst>
              <a:gd name="connsiteX0" fmla="*/ 0 w 11565176"/>
              <a:gd name="connsiteY0" fmla="*/ 0 h 4222561"/>
              <a:gd name="connsiteX1" fmla="*/ 11565176 w 11565176"/>
              <a:gd name="connsiteY1" fmla="*/ 0 h 4222561"/>
              <a:gd name="connsiteX2" fmla="*/ 11565176 w 11565176"/>
              <a:gd name="connsiteY2" fmla="*/ 2101962 h 4222561"/>
              <a:gd name="connsiteX3" fmla="*/ 910254 w 11565176"/>
              <a:gd name="connsiteY3" fmla="*/ 4203011 h 4222561"/>
              <a:gd name="connsiteX4" fmla="*/ 0 w 11565176"/>
              <a:gd name="connsiteY4" fmla="*/ 3522747 h 4222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65176" h="4222561">
                <a:moveTo>
                  <a:pt x="0" y="0"/>
                </a:moveTo>
                <a:lnTo>
                  <a:pt x="11565176" y="0"/>
                </a:lnTo>
                <a:lnTo>
                  <a:pt x="11565176" y="2101962"/>
                </a:lnTo>
                <a:lnTo>
                  <a:pt x="910254" y="4203011"/>
                </a:lnTo>
                <a:cubicBezTo>
                  <a:pt x="0" y="4359734"/>
                  <a:pt x="0" y="3522747"/>
                  <a:pt x="0" y="3522747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399600" tIns="1407600" rIns="3240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2-zeilig)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502B336E-2768-432F-A8DB-0FB505A7D8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63898" y="409422"/>
            <a:ext cx="2014538" cy="6080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">
                <a:noFill/>
              </a:defRPr>
            </a:lvl5pPr>
            <a:lvl6pPr marL="360000" indent="0">
              <a:spcBef>
                <a:spcPts val="0"/>
              </a:spcBef>
              <a:spcAft>
                <a:spcPts val="0"/>
              </a:spcAft>
              <a:buFontTx/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89882944-3099-4B0B-86B2-03CF51C1E27F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1B7D21C-9956-4F89-AA73-D6897EEE2B6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030048" y="984854"/>
            <a:ext cx="6481588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A72896F1-3FAF-4424-BD5C-93438D4E2E5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0048" y="2500031"/>
            <a:ext cx="6481588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E6DB12D6-50EB-4AE2-8385-0E97F9F8DCD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30048" y="2852957"/>
            <a:ext cx="5760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9029447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vollflächigem Bild und negati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6">
            <a:extLst>
              <a:ext uri="{FF2B5EF4-FFF2-40B4-BE49-F238E27FC236}">
                <a16:creationId xmlns:a16="http://schemas.microsoft.com/office/drawing/2014/main" id="{4870B9C8-84BA-4064-8D52-EB6D8BB2C90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6763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2520000" tIns="72000" rIns="72000" bIns="7200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Dieses Layout steht in zwei Varianten zur Verfügung: mit positivem und negativem Partnerlogo. Bitte wählen Sie das Layout aus, welches den bestmöglichen Kontrast zwischen Bild und Logo erzeugt.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502B336E-2768-432F-A8DB-0FB505A7D8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000" y="409422"/>
            <a:ext cx="2014538" cy="6080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">
                <a:noFill/>
              </a:defRPr>
            </a:lvl5pPr>
            <a:lvl6pPr marL="360000" indent="0">
              <a:spcBef>
                <a:spcPts val="0"/>
              </a:spcBef>
              <a:spcAft>
                <a:spcPts val="0"/>
              </a:spcAft>
              <a:buFontTx/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81D4B7A0-3950-46BA-B387-3F42017A93A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8" name="Textplatzhalter 37">
            <a:extLst>
              <a:ext uri="{FF2B5EF4-FFF2-40B4-BE49-F238E27FC236}">
                <a16:creationId xmlns:a16="http://schemas.microsoft.com/office/drawing/2014/main" id="{D8424B1A-AED2-4D57-A7C4-56820EB3B910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 bwMode="gray">
          <a:xfrm rot="10800000" flipH="1" flipV="1">
            <a:off x="6105117" y="1016947"/>
            <a:ext cx="5678388" cy="4824104"/>
          </a:xfrm>
          <a:custGeom>
            <a:avLst/>
            <a:gdLst>
              <a:gd name="connsiteX0" fmla="*/ 826519 w 5678388"/>
              <a:gd name="connsiteY0" fmla="*/ 4822598 h 4824104"/>
              <a:gd name="connsiteX1" fmla="*/ 0 w 5678388"/>
              <a:gd name="connsiteY1" fmla="*/ 4050794 h 4824104"/>
              <a:gd name="connsiteX2" fmla="*/ 0 w 5678388"/>
              <a:gd name="connsiteY2" fmla="*/ 3078968 h 4824104"/>
              <a:gd name="connsiteX3" fmla="*/ 0 w 5678388"/>
              <a:gd name="connsiteY3" fmla="*/ 2945586 h 4824104"/>
              <a:gd name="connsiteX4" fmla="*/ 0 w 5678388"/>
              <a:gd name="connsiteY4" fmla="*/ 2938350 h 4824104"/>
              <a:gd name="connsiteX5" fmla="*/ 0 w 5678388"/>
              <a:gd name="connsiteY5" fmla="*/ 2893100 h 4824104"/>
              <a:gd name="connsiteX6" fmla="*/ 0 w 5678388"/>
              <a:gd name="connsiteY6" fmla="*/ 2786888 h 4824104"/>
              <a:gd name="connsiteX7" fmla="*/ 0 w 5678388"/>
              <a:gd name="connsiteY7" fmla="*/ 2732179 h 4824104"/>
              <a:gd name="connsiteX8" fmla="*/ 0 w 5678388"/>
              <a:gd name="connsiteY8" fmla="*/ 2646270 h 4824104"/>
              <a:gd name="connsiteX9" fmla="*/ 0 w 5678388"/>
              <a:gd name="connsiteY9" fmla="*/ 2643017 h 4824104"/>
              <a:gd name="connsiteX10" fmla="*/ 0 w 5678388"/>
              <a:gd name="connsiteY10" fmla="*/ 2607497 h 4824104"/>
              <a:gd name="connsiteX11" fmla="*/ 0 w 5678388"/>
              <a:gd name="connsiteY11" fmla="*/ 2473167 h 4824104"/>
              <a:gd name="connsiteX12" fmla="*/ 0 w 5678388"/>
              <a:gd name="connsiteY12" fmla="*/ 2350937 h 4824104"/>
              <a:gd name="connsiteX13" fmla="*/ 0 w 5678388"/>
              <a:gd name="connsiteY13" fmla="*/ 2216607 h 4824104"/>
              <a:gd name="connsiteX14" fmla="*/ 0 w 5678388"/>
              <a:gd name="connsiteY14" fmla="*/ 2181087 h 4824104"/>
              <a:gd name="connsiteX15" fmla="*/ 0 w 5678388"/>
              <a:gd name="connsiteY15" fmla="*/ 2177834 h 4824104"/>
              <a:gd name="connsiteX16" fmla="*/ 0 w 5678388"/>
              <a:gd name="connsiteY16" fmla="*/ 2103762 h 4824104"/>
              <a:gd name="connsiteX17" fmla="*/ 0 w 5678388"/>
              <a:gd name="connsiteY17" fmla="*/ 2091925 h 4824104"/>
              <a:gd name="connsiteX18" fmla="*/ 0 w 5678388"/>
              <a:gd name="connsiteY18" fmla="*/ 2037216 h 4824104"/>
              <a:gd name="connsiteX19" fmla="*/ 0 w 5678388"/>
              <a:gd name="connsiteY19" fmla="*/ 1885754 h 4824104"/>
              <a:gd name="connsiteX20" fmla="*/ 0 w 5678388"/>
              <a:gd name="connsiteY20" fmla="*/ 1878518 h 4824104"/>
              <a:gd name="connsiteX21" fmla="*/ 0 w 5678388"/>
              <a:gd name="connsiteY21" fmla="*/ 1745136 h 4824104"/>
              <a:gd name="connsiteX22" fmla="*/ 0 w 5678388"/>
              <a:gd name="connsiteY22" fmla="*/ 946068 h 4824104"/>
              <a:gd name="connsiteX23" fmla="*/ 4675300 w 5678388"/>
              <a:gd name="connsiteY23" fmla="*/ 21604 h 4824104"/>
              <a:gd name="connsiteX24" fmla="*/ 5678388 w 5678388"/>
              <a:gd name="connsiteY24" fmla="*/ 773310 h 4824104"/>
              <a:gd name="connsiteX25" fmla="*/ 5678388 w 5678388"/>
              <a:gd name="connsiteY25" fmla="*/ 1745136 h 4824104"/>
              <a:gd name="connsiteX26" fmla="*/ 5678388 w 5678388"/>
              <a:gd name="connsiteY26" fmla="*/ 1878518 h 4824104"/>
              <a:gd name="connsiteX27" fmla="*/ 5678388 w 5678388"/>
              <a:gd name="connsiteY27" fmla="*/ 1885754 h 4824104"/>
              <a:gd name="connsiteX28" fmla="*/ 5678388 w 5678388"/>
              <a:gd name="connsiteY28" fmla="*/ 1931004 h 4824104"/>
              <a:gd name="connsiteX29" fmla="*/ 5678388 w 5678388"/>
              <a:gd name="connsiteY29" fmla="*/ 2037216 h 4824104"/>
              <a:gd name="connsiteX30" fmla="*/ 5678388 w 5678388"/>
              <a:gd name="connsiteY30" fmla="*/ 2091925 h 4824104"/>
              <a:gd name="connsiteX31" fmla="*/ 5678388 w 5678388"/>
              <a:gd name="connsiteY31" fmla="*/ 2177834 h 4824104"/>
              <a:gd name="connsiteX32" fmla="*/ 5678388 w 5678388"/>
              <a:gd name="connsiteY32" fmla="*/ 2181087 h 4824104"/>
              <a:gd name="connsiteX33" fmla="*/ 5678388 w 5678388"/>
              <a:gd name="connsiteY33" fmla="*/ 2216607 h 4824104"/>
              <a:gd name="connsiteX34" fmla="*/ 5678388 w 5678388"/>
              <a:gd name="connsiteY34" fmla="*/ 2350937 h 4824104"/>
              <a:gd name="connsiteX35" fmla="*/ 5678388 w 5678388"/>
              <a:gd name="connsiteY35" fmla="*/ 2473167 h 4824104"/>
              <a:gd name="connsiteX36" fmla="*/ 5678388 w 5678388"/>
              <a:gd name="connsiteY36" fmla="*/ 2607497 h 4824104"/>
              <a:gd name="connsiteX37" fmla="*/ 5678388 w 5678388"/>
              <a:gd name="connsiteY37" fmla="*/ 2643017 h 4824104"/>
              <a:gd name="connsiteX38" fmla="*/ 5678388 w 5678388"/>
              <a:gd name="connsiteY38" fmla="*/ 2646270 h 4824104"/>
              <a:gd name="connsiteX39" fmla="*/ 5678388 w 5678388"/>
              <a:gd name="connsiteY39" fmla="*/ 2720342 h 4824104"/>
              <a:gd name="connsiteX40" fmla="*/ 5678388 w 5678388"/>
              <a:gd name="connsiteY40" fmla="*/ 2732179 h 4824104"/>
              <a:gd name="connsiteX41" fmla="*/ 5678388 w 5678388"/>
              <a:gd name="connsiteY41" fmla="*/ 2786888 h 4824104"/>
              <a:gd name="connsiteX42" fmla="*/ 5678388 w 5678388"/>
              <a:gd name="connsiteY42" fmla="*/ 2938350 h 4824104"/>
              <a:gd name="connsiteX43" fmla="*/ 5678388 w 5678388"/>
              <a:gd name="connsiteY43" fmla="*/ 2945586 h 4824104"/>
              <a:gd name="connsiteX44" fmla="*/ 5678388 w 5678388"/>
              <a:gd name="connsiteY44" fmla="*/ 3078968 h 4824104"/>
              <a:gd name="connsiteX45" fmla="*/ 5678388 w 5678388"/>
              <a:gd name="connsiteY45" fmla="*/ 3878036 h 4824104"/>
              <a:gd name="connsiteX46" fmla="*/ 1003088 w 5678388"/>
              <a:gd name="connsiteY46" fmla="*/ 4802500 h 4824104"/>
              <a:gd name="connsiteX47" fmla="*/ 826519 w 5678388"/>
              <a:gd name="connsiteY47" fmla="*/ 4822598 h 482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678388" h="4824104">
                <a:moveTo>
                  <a:pt x="826519" y="4822598"/>
                </a:moveTo>
                <a:cubicBezTo>
                  <a:pt x="0" y="4863684"/>
                  <a:pt x="0" y="4050794"/>
                  <a:pt x="0" y="4050794"/>
                </a:cubicBezTo>
                <a:lnTo>
                  <a:pt x="0" y="3078968"/>
                </a:lnTo>
                <a:lnTo>
                  <a:pt x="0" y="2945586"/>
                </a:lnTo>
                <a:lnTo>
                  <a:pt x="0" y="2938350"/>
                </a:lnTo>
                <a:lnTo>
                  <a:pt x="0" y="2893100"/>
                </a:lnTo>
                <a:lnTo>
                  <a:pt x="0" y="2786888"/>
                </a:lnTo>
                <a:lnTo>
                  <a:pt x="0" y="2732179"/>
                </a:lnTo>
                <a:lnTo>
                  <a:pt x="0" y="2646270"/>
                </a:lnTo>
                <a:lnTo>
                  <a:pt x="0" y="2643017"/>
                </a:lnTo>
                <a:lnTo>
                  <a:pt x="0" y="2607497"/>
                </a:lnTo>
                <a:lnTo>
                  <a:pt x="0" y="2473167"/>
                </a:lnTo>
                <a:lnTo>
                  <a:pt x="0" y="2350937"/>
                </a:lnTo>
                <a:lnTo>
                  <a:pt x="0" y="2216607"/>
                </a:lnTo>
                <a:lnTo>
                  <a:pt x="0" y="2181087"/>
                </a:lnTo>
                <a:lnTo>
                  <a:pt x="0" y="2177834"/>
                </a:lnTo>
                <a:lnTo>
                  <a:pt x="0" y="2103762"/>
                </a:lnTo>
                <a:lnTo>
                  <a:pt x="0" y="2091925"/>
                </a:lnTo>
                <a:lnTo>
                  <a:pt x="0" y="2037216"/>
                </a:lnTo>
                <a:lnTo>
                  <a:pt x="0" y="1885754"/>
                </a:lnTo>
                <a:lnTo>
                  <a:pt x="0" y="1878518"/>
                </a:lnTo>
                <a:lnTo>
                  <a:pt x="0" y="1745136"/>
                </a:lnTo>
                <a:lnTo>
                  <a:pt x="0" y="946068"/>
                </a:lnTo>
                <a:lnTo>
                  <a:pt x="4675300" y="21604"/>
                </a:lnTo>
                <a:cubicBezTo>
                  <a:pt x="5678388" y="-151578"/>
                  <a:pt x="5678388" y="773310"/>
                  <a:pt x="5678388" y="773310"/>
                </a:cubicBezTo>
                <a:lnTo>
                  <a:pt x="5678388" y="1745136"/>
                </a:lnTo>
                <a:lnTo>
                  <a:pt x="5678388" y="1878518"/>
                </a:lnTo>
                <a:lnTo>
                  <a:pt x="5678388" y="1885754"/>
                </a:lnTo>
                <a:lnTo>
                  <a:pt x="5678388" y="1931004"/>
                </a:lnTo>
                <a:lnTo>
                  <a:pt x="5678388" y="2037216"/>
                </a:lnTo>
                <a:lnTo>
                  <a:pt x="5678388" y="2091925"/>
                </a:lnTo>
                <a:lnTo>
                  <a:pt x="5678388" y="2177834"/>
                </a:lnTo>
                <a:lnTo>
                  <a:pt x="5678388" y="2181087"/>
                </a:lnTo>
                <a:lnTo>
                  <a:pt x="5678388" y="2216607"/>
                </a:lnTo>
                <a:lnTo>
                  <a:pt x="5678388" y="2350937"/>
                </a:lnTo>
                <a:lnTo>
                  <a:pt x="5678388" y="2473167"/>
                </a:lnTo>
                <a:lnTo>
                  <a:pt x="5678388" y="2607497"/>
                </a:lnTo>
                <a:lnTo>
                  <a:pt x="5678388" y="2643017"/>
                </a:lnTo>
                <a:lnTo>
                  <a:pt x="5678388" y="2646270"/>
                </a:lnTo>
                <a:lnTo>
                  <a:pt x="5678388" y="2720342"/>
                </a:lnTo>
                <a:lnTo>
                  <a:pt x="5678388" y="2732179"/>
                </a:lnTo>
                <a:lnTo>
                  <a:pt x="5678388" y="2786888"/>
                </a:lnTo>
                <a:lnTo>
                  <a:pt x="5678388" y="2938350"/>
                </a:lnTo>
                <a:lnTo>
                  <a:pt x="5678388" y="2945586"/>
                </a:lnTo>
                <a:lnTo>
                  <a:pt x="5678388" y="3078968"/>
                </a:lnTo>
                <a:lnTo>
                  <a:pt x="5678388" y="3878036"/>
                </a:lnTo>
                <a:lnTo>
                  <a:pt x="1003088" y="4802500"/>
                </a:lnTo>
                <a:cubicBezTo>
                  <a:pt x="940395" y="4813324"/>
                  <a:pt x="881620" y="4819858"/>
                  <a:pt x="826519" y="4822598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324000" tIns="1548000" rIns="324000">
            <a:noAutofit/>
          </a:bodyPr>
          <a:lstStyle>
            <a:lvl1pPr>
              <a:spcBef>
                <a:spcPts val="0"/>
              </a:spcBef>
              <a:defRPr sz="3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itelfolie (max. 3-zeilig)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D8A1C109-9037-4034-9C00-6A16153E683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25504" y="2192887"/>
            <a:ext cx="5148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A3F31BC7-33D5-49A1-B782-C99EDC77468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425504" y="4217681"/>
            <a:ext cx="5148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199A5009-2ACA-44C9-AD06-067BCE20ECF0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425504" y="4570607"/>
            <a:ext cx="5148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630100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mit Voll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9">
            <a:extLst>
              <a:ext uri="{FF2B5EF4-FFF2-40B4-BE49-F238E27FC236}">
                <a16:creationId xmlns:a16="http://schemas.microsoft.com/office/drawing/2014/main" id="{61C4EC75-5F5C-47D8-AE19-1DBDC95287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-1" y="0"/>
            <a:ext cx="12195175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</a:t>
            </a:r>
            <a:br>
              <a:rPr lang="de-DE" sz="1600" dirty="0"/>
            </a:br>
            <a:r>
              <a:rPr lang="de-DE" sz="1600" dirty="0"/>
              <a:t>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Bibliothek oder über den Reiter „Einfügen“, „Bilder“ aus. </a:t>
            </a:r>
          </a:p>
        </p:txBody>
      </p:sp>
      <p:sp>
        <p:nvSpPr>
          <p:cNvPr id="7" name="Textplatzhalter 2">
            <a:extLst>
              <a:ext uri="{FF2B5EF4-FFF2-40B4-BE49-F238E27FC236}">
                <a16:creationId xmlns:a16="http://schemas.microsoft.com/office/drawing/2014/main" id="{93C93B80-10F8-4DC4-AAB2-00F23441063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6103895" y="-1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439200" tIns="403200" rIns="414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genda durch Klicken bearbeiten</a:t>
            </a:r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1BB383ED-A0FD-4954-850C-072EFB776AD2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478398C6-A877-4B44-95FB-39C3928E5BC5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4" name="Foliennummernplatzhalter 3" hidden="1">
            <a:extLst>
              <a:ext uri="{FF2B5EF4-FFF2-40B4-BE49-F238E27FC236}">
                <a16:creationId xmlns:a16="http://schemas.microsoft.com/office/drawing/2014/main" id="{EC481EA9-EE5D-4728-BDA0-C1698C6C30E0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51056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D798E5B9-D541-43DA-A3E7-65B072595C5B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6103895" y="0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</a:t>
            </a:r>
            <a:br>
              <a:rPr lang="de-DE" sz="1600" dirty="0"/>
            </a:br>
            <a:r>
              <a:rPr lang="de-DE" sz="1600" dirty="0"/>
              <a:t>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Bibliothek oder über den Reiter „Einfügen“, „Bilder“ aus. 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67C7171-BD46-47C8-B444-7F23BB8F89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9575" y="404664"/>
            <a:ext cx="5472113" cy="720000"/>
          </a:xfrm>
        </p:spPr>
        <p:txBody>
          <a:bodyPr/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Font typeface="Arial" panose="020B0604020202020204" pitchFamily="34" charset="0"/>
              <a:buNone/>
              <a:defRPr/>
            </a:lvl1pPr>
          </a:lstStyle>
          <a:p>
            <a:pPr marL="0" indent="0" algn="l" defTabSz="914400" rtl="0" eaLnBrk="1" latinLnBrk="0" hangingPunct="1">
              <a:lnSpc>
                <a:spcPct val="100000"/>
              </a:lnSpc>
              <a:spcBef>
                <a:spcPct val="0"/>
              </a:spcBef>
              <a:buClr>
                <a:schemeClr val="accent1"/>
              </a:buClr>
              <a:buFont typeface="Arial" panose="020B0604020202020204" pitchFamily="34" charset="0"/>
              <a:buNone/>
            </a:pPr>
            <a:r>
              <a:rPr lang="de-DE" sz="2600" b="1" kern="1200" dirty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genda durch Klicken bearbeiten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30199B8B-ECD0-4F50-8D46-7B6751A7E0A5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00409173-C04A-4417-A50D-99ED9A1E7FEB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DDD2400C-9CD1-40F8-8C5C-311482818F96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6" name="Foliennummernplatzhalter 5" hidden="1">
            <a:extLst>
              <a:ext uri="{FF2B5EF4-FFF2-40B4-BE49-F238E27FC236}">
                <a16:creationId xmlns:a16="http://schemas.microsoft.com/office/drawing/2014/main" id="{1B179B87-6033-4F04-9A6A-36C0829C02E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0646184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77">
          <p15:clr>
            <a:srgbClr val="F26B43"/>
          </p15:clr>
        </p15:guide>
        <p15:guide id="2" pos="3705">
          <p15:clr>
            <a:srgbClr val="F26B43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el 2">
            <a:extLst>
              <a:ext uri="{FF2B5EF4-FFF2-40B4-BE49-F238E27FC236}">
                <a16:creationId xmlns:a16="http://schemas.microsoft.com/office/drawing/2014/main" id="{48006391-F196-4C49-B1CF-51EA1F4C4287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630000" y="1"/>
            <a:ext cx="9545412" cy="1722335"/>
          </a:xfrm>
          <a:custGeom>
            <a:avLst/>
            <a:gdLst>
              <a:gd name="connsiteX0" fmla="*/ 0 w 9545412"/>
              <a:gd name="connsiteY0" fmla="*/ 0 h 1722335"/>
              <a:gd name="connsiteX1" fmla="*/ 9545412 w 9545412"/>
              <a:gd name="connsiteY1" fmla="*/ 0 h 1722335"/>
              <a:gd name="connsiteX2" fmla="*/ 910255 w 9545412"/>
              <a:gd name="connsiteY2" fmla="*/ 1702784 h 1722335"/>
              <a:gd name="connsiteX3" fmla="*/ 0 w 9545412"/>
              <a:gd name="connsiteY3" fmla="*/ 1022515 h 1722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45412" h="1722335">
                <a:moveTo>
                  <a:pt x="0" y="0"/>
                </a:moveTo>
                <a:lnTo>
                  <a:pt x="9545412" y="0"/>
                </a:lnTo>
                <a:lnTo>
                  <a:pt x="910255" y="1702784"/>
                </a:lnTo>
                <a:cubicBezTo>
                  <a:pt x="0" y="1859508"/>
                  <a:pt x="0" y="1022515"/>
                  <a:pt x="0" y="1022515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439200" tIns="403200" rIns="5760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Agenda durch Klicken bearbeiten</a:t>
            </a:r>
          </a:p>
        </p:txBody>
      </p:sp>
      <p:sp>
        <p:nvSpPr>
          <p:cNvPr id="4" name="Textfeld 3">
            <a:extLst>
              <a:ext uri="{FF2B5EF4-FFF2-40B4-BE49-F238E27FC236}">
                <a16:creationId xmlns:a16="http://schemas.microsoft.com/office/drawing/2014/main" id="{A445E29F-38B6-4BAF-B30A-3C6592680EA8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AEC41FBF-BBD2-4694-8BFD-7693D2856315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DEAAFD79-128F-4FEE-887D-835E2FB1F681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74417BC1-7661-4571-9C7E-1EC7D7D71D72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961462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77">
          <p15:clr>
            <a:srgbClr val="FBAE40"/>
          </p15:clr>
        </p15:guide>
        <p15:guide id="2" pos="3705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seite mit vollflächigem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9">
            <a:extLst>
              <a:ext uri="{FF2B5EF4-FFF2-40B4-BE49-F238E27FC236}">
                <a16:creationId xmlns:a16="http://schemas.microsoft.com/office/drawing/2014/main" id="{61C4EC75-5F5C-47D8-AE19-1DBDC95287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-1" y="0"/>
            <a:ext cx="12195175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</a:t>
            </a:r>
            <a:br>
              <a:rPr lang="de-DE" sz="1600" dirty="0"/>
            </a:br>
            <a:r>
              <a:rPr lang="de-DE" sz="1600" dirty="0"/>
              <a:t>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Bibliothek oder über den Reiter „Einfügen“, „Bilder“ aus. </a:t>
            </a:r>
          </a:p>
        </p:txBody>
      </p:sp>
      <p:sp>
        <p:nvSpPr>
          <p:cNvPr id="7" name="Textplatzhalter 9">
            <a:extLst>
              <a:ext uri="{FF2B5EF4-FFF2-40B4-BE49-F238E27FC236}">
                <a16:creationId xmlns:a16="http://schemas.microsoft.com/office/drawing/2014/main" id="{93C93B80-10F8-4DC4-AAB2-00F234410632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6103895" y="-1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435600" tIns="0" rIns="414000" bIns="3542400"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trennseite (max. 2-zeilig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2AE4F05-50A3-4DCB-B5C1-E163C13DE4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538613" y="403200"/>
            <a:ext cx="461665" cy="83099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>
              <a:spcBef>
                <a:spcPts val="0"/>
              </a:spcBef>
              <a:buNone/>
              <a:defRPr sz="5400" b="0">
                <a:solidFill>
                  <a:schemeClr val="accent2"/>
                </a:solidFill>
              </a:defRPr>
            </a:lvl1pPr>
            <a:lvl2pPr>
              <a:defRPr sz="4500"/>
            </a:lvl2pPr>
            <a:lvl3pPr>
              <a:defRPr sz="4500"/>
            </a:lvl3pPr>
            <a:lvl4pPr>
              <a:defRPr sz="4500"/>
            </a:lvl4pPr>
            <a:lvl5pPr>
              <a:defRPr sz="4500"/>
            </a:lvl5pPr>
          </a:lstStyle>
          <a:p>
            <a:pPr lvl="0"/>
            <a:r>
              <a:rPr lang="de-DE" noProof="0" dirty="0"/>
              <a:t>X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82FE2016-08F1-473F-A608-61DC01DB69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538613" y="2934424"/>
            <a:ext cx="5242907" cy="2016000"/>
          </a:xfrm>
        </p:spPr>
        <p:txBody>
          <a:bodyPr/>
          <a:lstStyle>
            <a:lvl1pPr marL="180000" indent="-180000">
              <a:spcBef>
                <a:spcPts val="600"/>
              </a:spcBef>
              <a:buClrTx/>
              <a:buFont typeface="Wingdings" panose="05000000000000000000" pitchFamily="2" charset="2"/>
              <a:buChar char=""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Erstes Unterthema</a:t>
            </a:r>
          </a:p>
          <a:p>
            <a:pPr lvl="0"/>
            <a:r>
              <a:rPr lang="de-DE" noProof="0" dirty="0"/>
              <a:t>Zweites Unterthema</a:t>
            </a:r>
          </a:p>
          <a:p>
            <a:pPr lvl="0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D31E90FE-4C0F-46DC-BB23-CFE8EF067FA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7FE96BE8-4D7F-4167-BF57-0839A28E751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4" name="Foliennummernplatzhalter 3" hidden="1">
            <a:extLst>
              <a:ext uri="{FF2B5EF4-FFF2-40B4-BE49-F238E27FC236}">
                <a16:creationId xmlns:a16="http://schemas.microsoft.com/office/drawing/2014/main" id="{3ED20BDB-0617-4D87-972C-813895C0EE1A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36817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seite mit vollflächigem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Bildplatzhalter 9">
            <a:extLst>
              <a:ext uri="{FF2B5EF4-FFF2-40B4-BE49-F238E27FC236}">
                <a16:creationId xmlns:a16="http://schemas.microsoft.com/office/drawing/2014/main" id="{61C4EC75-5F5C-47D8-AE19-1DBDC952873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 bwMode="gray">
          <a:xfrm>
            <a:off x="-1" y="0"/>
            <a:ext cx="12195175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sz="1600" dirty="0"/>
              <a:t>Um ein Hintergrundbild einzufügen, markieren Sie bitte den 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Bibliothek oder über den Reiter „Einfügen“, „Bilder“ aus. </a:t>
            </a:r>
          </a:p>
        </p:txBody>
      </p:sp>
      <p:sp>
        <p:nvSpPr>
          <p:cNvPr id="9" name="Textplatzhalter 9">
            <a:extLst>
              <a:ext uri="{FF2B5EF4-FFF2-40B4-BE49-F238E27FC236}">
                <a16:creationId xmlns:a16="http://schemas.microsoft.com/office/drawing/2014/main" id="{736F61B6-AA72-44FD-A2CD-3CEF9E01724E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0" y="547319"/>
            <a:ext cx="6091280" cy="6310681"/>
          </a:xfrm>
          <a:custGeom>
            <a:avLst/>
            <a:gdLst>
              <a:gd name="connsiteX0" fmla="*/ 5294608 w 6091280"/>
              <a:gd name="connsiteY0" fmla="*/ 1449 h 6310681"/>
              <a:gd name="connsiteX1" fmla="*/ 6091280 w 6091280"/>
              <a:gd name="connsiteY1" fmla="*/ 743338 h 6310681"/>
              <a:gd name="connsiteX2" fmla="*/ 6091280 w 6091280"/>
              <a:gd name="connsiteY2" fmla="*/ 6310681 h 6310681"/>
              <a:gd name="connsiteX3" fmla="*/ 0 w 6091280"/>
              <a:gd name="connsiteY3" fmla="*/ 6310681 h 6310681"/>
              <a:gd name="connsiteX4" fmla="*/ 0 w 6091280"/>
              <a:gd name="connsiteY4" fmla="*/ 1031253 h 6310681"/>
              <a:gd name="connsiteX5" fmla="*/ 5124415 w 6091280"/>
              <a:gd name="connsiteY5" fmla="*/ 20767 h 6310681"/>
              <a:gd name="connsiteX6" fmla="*/ 5294608 w 6091280"/>
              <a:gd name="connsiteY6" fmla="*/ 1449 h 6310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091280" h="6310681">
                <a:moveTo>
                  <a:pt x="5294608" y="1449"/>
                </a:moveTo>
                <a:cubicBezTo>
                  <a:pt x="6091280" y="-38046"/>
                  <a:pt x="6091280" y="743338"/>
                  <a:pt x="6091280" y="743338"/>
                </a:cubicBezTo>
                <a:lnTo>
                  <a:pt x="6091280" y="6310681"/>
                </a:lnTo>
                <a:lnTo>
                  <a:pt x="0" y="6310681"/>
                </a:lnTo>
                <a:lnTo>
                  <a:pt x="0" y="1031253"/>
                </a:lnTo>
                <a:lnTo>
                  <a:pt x="5124415" y="20767"/>
                </a:lnTo>
                <a:cubicBezTo>
                  <a:pt x="5184844" y="10363"/>
                  <a:pt x="5241497" y="4081"/>
                  <a:pt x="5294608" y="1449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640800" tIns="0" rIns="414000" bIns="2419200" anchor="b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26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Kapiteltrennseite (max. 2-zeilig)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22AE4F05-50A3-4DCB-B5C1-E163C13DE46A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638782" y="2073548"/>
            <a:ext cx="461665" cy="83099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>
              <a:spcBef>
                <a:spcPts val="0"/>
              </a:spcBef>
              <a:buNone/>
              <a:defRPr sz="5400" b="0">
                <a:solidFill>
                  <a:schemeClr val="accent2"/>
                </a:solidFill>
              </a:defRPr>
            </a:lvl1pPr>
            <a:lvl2pPr>
              <a:defRPr sz="4500"/>
            </a:lvl2pPr>
            <a:lvl3pPr>
              <a:defRPr sz="4500"/>
            </a:lvl3pPr>
            <a:lvl4pPr>
              <a:defRPr sz="4500"/>
            </a:lvl4pPr>
            <a:lvl5pPr>
              <a:defRPr sz="4500"/>
            </a:lvl5pPr>
          </a:lstStyle>
          <a:p>
            <a:pPr lvl="0"/>
            <a:r>
              <a:rPr lang="de-DE" noProof="0" dirty="0"/>
              <a:t>X</a:t>
            </a:r>
          </a:p>
        </p:txBody>
      </p:sp>
      <p:sp>
        <p:nvSpPr>
          <p:cNvPr id="13" name="Textplatzhalter 2">
            <a:extLst>
              <a:ext uri="{FF2B5EF4-FFF2-40B4-BE49-F238E27FC236}">
                <a16:creationId xmlns:a16="http://schemas.microsoft.com/office/drawing/2014/main" id="{82FE2016-08F1-473F-A608-61DC01DB69E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638782" y="4604772"/>
            <a:ext cx="5242907" cy="1703953"/>
          </a:xfrm>
        </p:spPr>
        <p:txBody>
          <a:bodyPr/>
          <a:lstStyle>
            <a:lvl1pPr marL="180000" indent="-180000">
              <a:spcBef>
                <a:spcPts val="600"/>
              </a:spcBef>
              <a:buClrTx/>
              <a:buFont typeface="Wingdings" panose="05000000000000000000" pitchFamily="2" charset="2"/>
              <a:buChar char=""/>
              <a:defRPr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dirty="0"/>
              <a:t>Erstes Unterthema</a:t>
            </a:r>
          </a:p>
          <a:p>
            <a:pPr lvl="0"/>
            <a:r>
              <a:rPr lang="de-DE" noProof="0" dirty="0"/>
              <a:t>Zweites Unterthema</a:t>
            </a:r>
          </a:p>
          <a:p>
            <a:pPr lvl="0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B51C3C61-46B6-4C12-A96C-6E15209A5650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 hidden="1">
            <a:extLst>
              <a:ext uri="{FF2B5EF4-FFF2-40B4-BE49-F238E27FC236}">
                <a16:creationId xmlns:a16="http://schemas.microsoft.com/office/drawing/2014/main" id="{0BC7319A-E469-4F6B-82A6-E147FCCCCC20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4" name="Foliennummernplatzhalter 3" hidden="1">
            <a:extLst>
              <a:ext uri="{FF2B5EF4-FFF2-40B4-BE49-F238E27FC236}">
                <a16:creationId xmlns:a16="http://schemas.microsoft.com/office/drawing/2014/main" id="{D9CE1915-9E92-4B06-885F-E32D44658DB5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5994246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seite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Bildplatzhalter 9">
            <a:extLst>
              <a:ext uri="{FF2B5EF4-FFF2-40B4-BE49-F238E27FC236}">
                <a16:creationId xmlns:a16="http://schemas.microsoft.com/office/drawing/2014/main" id="{416ECB76-69DA-4DC8-828F-074046CA47F4}"/>
              </a:ext>
            </a:extLst>
          </p:cNvPr>
          <p:cNvSpPr>
            <a:spLocks noGrp="1" noChangeAspect="1"/>
          </p:cNvSpPr>
          <p:nvPr>
            <p:ph type="pic" sz="quarter" idx="10" hasCustomPrompt="1"/>
          </p:nvPr>
        </p:nvSpPr>
        <p:spPr bwMode="gray">
          <a:xfrm>
            <a:off x="6103895" y="0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</a:t>
            </a:r>
            <a:br>
              <a:rPr lang="de-DE" sz="1600" dirty="0"/>
            </a:br>
            <a:r>
              <a:rPr lang="de-DE" sz="1600" dirty="0"/>
              <a:t>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Bibliothek oder über den Reiter „Einfügen“, „Bilder“ aus. </a:t>
            </a:r>
          </a:p>
        </p:txBody>
      </p:sp>
      <p:sp>
        <p:nvSpPr>
          <p:cNvPr id="13" name="Textplatzhalter 9"/>
          <p:cNvSpPr>
            <a:spLocks noGrp="1"/>
          </p:cNvSpPr>
          <p:nvPr>
            <p:ph type="body" sz="quarter" idx="11" hasCustomPrompt="1"/>
          </p:nvPr>
        </p:nvSpPr>
        <p:spPr bwMode="gray">
          <a:xfrm>
            <a:off x="409575" y="3351256"/>
            <a:ext cx="5472112" cy="400110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sz="2600"/>
            </a:lvl2pPr>
            <a:lvl3pPr>
              <a:defRPr sz="2600"/>
            </a:lvl3pPr>
            <a:lvl4pPr>
              <a:defRPr sz="2600"/>
            </a:lvl4pPr>
            <a:lvl5pPr>
              <a:defRPr sz="2600"/>
            </a:lvl5pPr>
          </a:lstStyle>
          <a:p>
            <a:pPr lvl="0"/>
            <a:r>
              <a:rPr lang="de-DE" sz="2600" kern="0" noProof="0" dirty="0"/>
              <a:t>Kapiteltrennseite (max. 2-zeilig)</a:t>
            </a:r>
          </a:p>
        </p:txBody>
      </p:sp>
      <p:sp>
        <p:nvSpPr>
          <p:cNvPr id="14" name="Textplatzhalter 11"/>
          <p:cNvSpPr>
            <a:spLocks noGrp="1"/>
          </p:cNvSpPr>
          <p:nvPr>
            <p:ph type="body" sz="quarter" idx="12" hasCustomPrompt="1"/>
          </p:nvPr>
        </p:nvSpPr>
        <p:spPr bwMode="gray">
          <a:xfrm>
            <a:off x="409575" y="1389472"/>
            <a:ext cx="461665" cy="830997"/>
          </a:xfrm>
          <a:prstGeom prst="rect">
            <a:avLst/>
          </a:prstGeom>
        </p:spPr>
        <p:txBody>
          <a:bodyPr wrap="none" anchor="ctr">
            <a:spAutoFit/>
          </a:bodyPr>
          <a:lstStyle>
            <a:lvl1pPr marL="0" indent="0">
              <a:spcBef>
                <a:spcPts val="0"/>
              </a:spcBef>
              <a:buNone/>
              <a:defRPr sz="5400" b="0">
                <a:solidFill>
                  <a:schemeClr val="accent2"/>
                </a:solidFill>
              </a:defRPr>
            </a:lvl1pPr>
            <a:lvl2pPr>
              <a:defRPr sz="4500"/>
            </a:lvl2pPr>
            <a:lvl3pPr>
              <a:defRPr sz="4500"/>
            </a:lvl3pPr>
            <a:lvl4pPr>
              <a:defRPr sz="4500"/>
            </a:lvl4pPr>
            <a:lvl5pPr>
              <a:defRPr sz="4500"/>
            </a:lvl5pPr>
          </a:lstStyle>
          <a:p>
            <a:pPr lvl="0"/>
            <a:r>
              <a:rPr lang="de-DE" noProof="0" dirty="0"/>
              <a:t>X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409575" y="3920696"/>
            <a:ext cx="5472113" cy="2389984"/>
          </a:xfrm>
        </p:spPr>
        <p:txBody>
          <a:bodyPr/>
          <a:lstStyle>
            <a:lvl1pPr marL="180000" indent="-180000">
              <a:spcBef>
                <a:spcPts val="600"/>
              </a:spcBef>
              <a:buClrTx/>
              <a:buFont typeface="Wingdings" panose="05000000000000000000" pitchFamily="2" charset="2"/>
              <a:buChar char=""/>
              <a:defRPr b="0"/>
            </a:lvl1pPr>
          </a:lstStyle>
          <a:p>
            <a:pPr lvl="0"/>
            <a:r>
              <a:rPr lang="de-DE" noProof="0" dirty="0"/>
              <a:t>Erstes Unterthema</a:t>
            </a:r>
          </a:p>
          <a:p>
            <a:pPr lvl="0"/>
            <a:r>
              <a:rPr lang="de-DE" noProof="0" dirty="0"/>
              <a:t>Zweites Unterthema</a:t>
            </a:r>
          </a:p>
          <a:p>
            <a:pPr lvl="0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D81266AE-6E9D-4E5B-A1C1-1AB193785CCB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3B6472E5-0A63-477D-8DFA-339821C3C5DE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9D435B6E-46AD-4CD3-921C-A8C4A5A6E678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1DE2A707-2701-4F3F-8CBF-9B4B71338A3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5773994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705">
          <p15:clr>
            <a:srgbClr val="F26B43"/>
          </p15:clr>
        </p15:guide>
        <p15:guide id="2" pos="3977">
          <p15:clr>
            <a:srgbClr val="F26B43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nnseit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platzhalter 9"/>
          <p:cNvSpPr>
            <a:spLocks noGrp="1"/>
          </p:cNvSpPr>
          <p:nvPr>
            <p:ph type="body" sz="quarter" idx="13" hasCustomPrompt="1"/>
          </p:nvPr>
        </p:nvSpPr>
        <p:spPr bwMode="gray">
          <a:xfrm>
            <a:off x="1030048" y="3588191"/>
            <a:ext cx="10755551" cy="400110"/>
          </a:xfrm>
          <a:prstGeom prst="rect">
            <a:avLst/>
          </a:prstGeom>
        </p:spPr>
        <p:txBody>
          <a:bodyPr wrap="square" anchor="b">
            <a:sp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lang="de-DE" sz="2600" b="1" kern="1200" dirty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>
              <a:defRPr sz="2600"/>
            </a:lvl2pPr>
            <a:lvl3pPr>
              <a:defRPr sz="2600"/>
            </a:lvl3pPr>
            <a:lvl4pPr>
              <a:defRPr sz="2600"/>
            </a:lvl4pPr>
            <a:lvl5pPr>
              <a:defRPr sz="2600"/>
            </a:lvl5pPr>
          </a:lstStyle>
          <a:p>
            <a:pPr>
              <a:spcBef>
                <a:spcPts val="600"/>
              </a:spcBef>
              <a:buClr>
                <a:schemeClr val="accent1"/>
              </a:buClr>
            </a:pPr>
            <a:r>
              <a:rPr lang="de-DE" sz="2600" b="1" noProof="0" dirty="0">
                <a:solidFill>
                  <a:srgbClr val="00358E"/>
                </a:solidFill>
              </a:rPr>
              <a:t>Kapiteltrennseite (max. 2-zeilig)</a:t>
            </a:r>
          </a:p>
        </p:txBody>
      </p:sp>
      <p:sp>
        <p:nvSpPr>
          <p:cNvPr id="8" name="Textplatzhalter 11">
            <a:extLst>
              <a:ext uri="{FF2B5EF4-FFF2-40B4-BE49-F238E27FC236}">
                <a16:creationId xmlns:a16="http://schemas.microsoft.com/office/drawing/2014/main" id="{FF5CDA3A-768F-4B1D-A104-C4CE0260977F}"/>
              </a:ext>
            </a:extLst>
          </p:cNvPr>
          <p:cNvSpPr>
            <a:spLocks noGrp="1" noChangeAspect="1"/>
          </p:cNvSpPr>
          <p:nvPr>
            <p:ph type="body" sz="quarter" idx="16" hasCustomPrompt="1"/>
          </p:nvPr>
        </p:nvSpPr>
        <p:spPr bwMode="gray">
          <a:xfrm>
            <a:off x="630000" y="1"/>
            <a:ext cx="9545412" cy="1722335"/>
          </a:xfrm>
          <a:custGeom>
            <a:avLst/>
            <a:gdLst>
              <a:gd name="connsiteX0" fmla="*/ 0 w 9545412"/>
              <a:gd name="connsiteY0" fmla="*/ 0 h 1722335"/>
              <a:gd name="connsiteX1" fmla="*/ 9545412 w 9545412"/>
              <a:gd name="connsiteY1" fmla="*/ 0 h 1722335"/>
              <a:gd name="connsiteX2" fmla="*/ 910255 w 9545412"/>
              <a:gd name="connsiteY2" fmla="*/ 1702784 h 1722335"/>
              <a:gd name="connsiteX3" fmla="*/ 0 w 9545412"/>
              <a:gd name="connsiteY3" fmla="*/ 1022515 h 172233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9545412" h="1722335">
                <a:moveTo>
                  <a:pt x="0" y="0"/>
                </a:moveTo>
                <a:lnTo>
                  <a:pt x="9545412" y="0"/>
                </a:lnTo>
                <a:lnTo>
                  <a:pt x="910255" y="1702784"/>
                </a:lnTo>
                <a:cubicBezTo>
                  <a:pt x="0" y="1859508"/>
                  <a:pt x="0" y="1022515"/>
                  <a:pt x="0" y="1022515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399600" tIns="403200" rIns="5760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5400" b="0">
                <a:solidFill>
                  <a:schemeClr val="accent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1030048" y="4154658"/>
            <a:ext cx="10755552" cy="2154067"/>
          </a:xfrm>
        </p:spPr>
        <p:txBody>
          <a:bodyPr/>
          <a:lstStyle>
            <a:lvl1pPr marL="180000" indent="-180000">
              <a:spcBef>
                <a:spcPts val="600"/>
              </a:spcBef>
              <a:buClrTx/>
              <a:buFont typeface="Wingdings" panose="05000000000000000000" pitchFamily="2" charset="2"/>
              <a:buChar char=""/>
              <a:defRPr b="0"/>
            </a:lvl1pPr>
          </a:lstStyle>
          <a:p>
            <a:pPr lvl="0"/>
            <a:r>
              <a:rPr lang="de-DE" noProof="0" dirty="0"/>
              <a:t>Erstes Unterthema</a:t>
            </a:r>
          </a:p>
          <a:p>
            <a:pPr lvl="0"/>
            <a:r>
              <a:rPr lang="de-DE" noProof="0" dirty="0"/>
              <a:t>Zweites Unterthema</a:t>
            </a:r>
          </a:p>
          <a:p>
            <a:pPr lvl="0"/>
            <a:endParaRPr lang="de-DE" noProof="0" dirty="0"/>
          </a:p>
          <a:p>
            <a:pPr lvl="0"/>
            <a:endParaRPr lang="de-DE" noProof="0" dirty="0"/>
          </a:p>
        </p:txBody>
      </p:sp>
      <p:sp>
        <p:nvSpPr>
          <p:cNvPr id="9" name="Textfeld 8">
            <a:extLst>
              <a:ext uri="{FF2B5EF4-FFF2-40B4-BE49-F238E27FC236}">
                <a16:creationId xmlns:a16="http://schemas.microsoft.com/office/drawing/2014/main" id="{C1FECC2E-0C69-48E4-AAC3-98612966742E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  <p:sp>
        <p:nvSpPr>
          <p:cNvPr id="2" name="Datumsplatzhalter 1" hidden="1">
            <a:extLst>
              <a:ext uri="{FF2B5EF4-FFF2-40B4-BE49-F238E27FC236}">
                <a16:creationId xmlns:a16="http://schemas.microsoft.com/office/drawing/2014/main" id="{457F5F2C-8505-420A-B99D-B577E24DCF2D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4" name="Fußzeilenplatzhalter 3" hidden="1">
            <a:extLst>
              <a:ext uri="{FF2B5EF4-FFF2-40B4-BE49-F238E27FC236}">
                <a16:creationId xmlns:a16="http://schemas.microsoft.com/office/drawing/2014/main" id="{FE2A117C-4F9D-4297-8E39-1844B3F9A0BA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5" name="Foliennummernplatzhalter 4" hidden="1">
            <a:extLst>
              <a:ext uri="{FF2B5EF4-FFF2-40B4-BE49-F238E27FC236}">
                <a16:creationId xmlns:a16="http://schemas.microsoft.com/office/drawing/2014/main" id="{2E7E3FCB-9B10-41D2-BC38-37380ED8D769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>
              <a:defRPr>
                <a:noFill/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178236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spaltig mit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sz="quarter" idx="14" hasCustomPrompt="1"/>
          </p:nvPr>
        </p:nvSpPr>
        <p:spPr bwMode="gray">
          <a:xfrm>
            <a:off x="409575" y="1412776"/>
            <a:ext cx="11376025" cy="4895852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11376025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405D4415-C263-412A-998C-C17487DF1D0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CE438C2-C56B-467E-8638-23A1B7F54228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33EB7E9-49EE-4B34-B6A9-3B63D299D3DA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ACCEEA2B-6678-48D3-BAA7-B6E6832EF7D2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7072378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spaltig mit Untertitel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Inhaltsplatzhalter 2"/>
          <p:cNvSpPr>
            <a:spLocks noGrp="1"/>
          </p:cNvSpPr>
          <p:nvPr>
            <p:ph sz="quarter" idx="14" hasCustomPrompt="1"/>
          </p:nvPr>
        </p:nvSpPr>
        <p:spPr bwMode="gray">
          <a:xfrm>
            <a:off x="409575" y="2060848"/>
            <a:ext cx="11375975" cy="42487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9575" y="1412776"/>
            <a:ext cx="11375975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dirty="0">
                <a:solidFill>
                  <a:schemeClr val="accent2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Untertitel 1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9575" y="1700708"/>
            <a:ext cx="11375975" cy="215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defRPr lang="de-DE" sz="1400" b="0" dirty="0"/>
            </a:lvl1pPr>
          </a:lstStyle>
          <a:p>
            <a:r>
              <a:rPr lang="de-DE" sz="1400" b="0" dirty="0"/>
              <a:t>Untertitel 2</a:t>
            </a:r>
            <a:endParaRPr lang="de-DE" b="0" dirty="0"/>
          </a:p>
        </p:txBody>
      </p:sp>
      <p:sp>
        <p:nvSpPr>
          <p:cNvPr id="7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11375975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4E7D873-772C-4013-B401-AF4DA0BD517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5B84E82-D5E4-43FA-9771-2F8E94792037}"/>
              </a:ext>
            </a:extLst>
          </p:cNvPr>
          <p:cNvSpPr>
            <a:spLocks noGrp="1"/>
          </p:cNvSpPr>
          <p:nvPr>
            <p:ph type="dt" sz="half" idx="24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78D1C485-5C84-4892-BB20-6FB861EC83ED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247D4368-4934-4508-81B8-7FFD4AA8496D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797432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1298">
          <p15:clr>
            <a:srgbClr val="C35EA4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und negati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6">
            <a:extLst>
              <a:ext uri="{FF2B5EF4-FFF2-40B4-BE49-F238E27FC236}">
                <a16:creationId xmlns:a16="http://schemas.microsoft.com/office/drawing/2014/main" id="{4870B9C8-84BA-4064-8D52-EB6D8BB2C90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6763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2520000" tIns="72000" rIns="72000" bIns="72000" rtlCol="0" anchor="b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Dieses Layout steht in zwei Varianten zur Verfügung: mit positivem und negativem Partnerlogo. Bitte wählen Sie das Layout aus, welches den bestmöglichen Kontrast zwischen Bild und Logo erzeugt.</a:t>
            </a:r>
          </a:p>
        </p:txBody>
      </p:sp>
      <p:sp>
        <p:nvSpPr>
          <p:cNvPr id="30" name="Textplatzhalter 13">
            <a:extLst>
              <a:ext uri="{FF2B5EF4-FFF2-40B4-BE49-F238E27FC236}">
                <a16:creationId xmlns:a16="http://schemas.microsoft.com/office/drawing/2014/main" id="{58F070F6-CDDE-4C67-9078-9184F9E3EE06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629999" y="1"/>
            <a:ext cx="11565176" cy="4222561"/>
          </a:xfrm>
          <a:custGeom>
            <a:avLst/>
            <a:gdLst>
              <a:gd name="connsiteX0" fmla="*/ 0 w 11565176"/>
              <a:gd name="connsiteY0" fmla="*/ 0 h 4222561"/>
              <a:gd name="connsiteX1" fmla="*/ 11565176 w 11565176"/>
              <a:gd name="connsiteY1" fmla="*/ 0 h 4222561"/>
              <a:gd name="connsiteX2" fmla="*/ 11565176 w 11565176"/>
              <a:gd name="connsiteY2" fmla="*/ 2101962 h 4222561"/>
              <a:gd name="connsiteX3" fmla="*/ 910254 w 11565176"/>
              <a:gd name="connsiteY3" fmla="*/ 4203011 h 4222561"/>
              <a:gd name="connsiteX4" fmla="*/ 0 w 11565176"/>
              <a:gd name="connsiteY4" fmla="*/ 3522747 h 4222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65176" h="4222561">
                <a:moveTo>
                  <a:pt x="0" y="0"/>
                </a:moveTo>
                <a:lnTo>
                  <a:pt x="11565176" y="0"/>
                </a:lnTo>
                <a:lnTo>
                  <a:pt x="11565176" y="2101962"/>
                </a:lnTo>
                <a:lnTo>
                  <a:pt x="910254" y="4203011"/>
                </a:lnTo>
                <a:cubicBezTo>
                  <a:pt x="0" y="4359734"/>
                  <a:pt x="0" y="3522747"/>
                  <a:pt x="0" y="3522747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399600" tIns="1407600" rIns="3240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2-zeilig)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502B336E-2768-432F-A8DB-0FB505A7D8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63898" y="409422"/>
            <a:ext cx="2014538" cy="6080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">
                <a:noFill/>
              </a:defRPr>
            </a:lvl5pPr>
            <a:lvl6pPr marL="360000" indent="0">
              <a:spcBef>
                <a:spcPts val="0"/>
              </a:spcBef>
              <a:spcAft>
                <a:spcPts val="0"/>
              </a:spcAft>
              <a:buFontTx/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9" name="Textplatzhalter 2">
            <a:extLst>
              <a:ext uri="{FF2B5EF4-FFF2-40B4-BE49-F238E27FC236}">
                <a16:creationId xmlns:a16="http://schemas.microsoft.com/office/drawing/2014/main" id="{79842972-B43D-4498-9CE0-114835F45A3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F27D9437-25D4-41C0-9FDB-67DE2F56C5F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030048" y="984854"/>
            <a:ext cx="6481588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11751F6-7D82-4879-9644-28DE0AFB0E9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0048" y="2500031"/>
            <a:ext cx="6481588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CB214486-2E9D-4910-B40E-A31969FCC4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30048" y="2852957"/>
            <a:ext cx="5760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057474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1412776"/>
            <a:ext cx="5471380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6" hasCustomPrompt="1"/>
          </p:nvPr>
        </p:nvSpPr>
        <p:spPr bwMode="gray">
          <a:xfrm>
            <a:off x="6313611" y="1412776"/>
            <a:ext cx="5471344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11375380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0EE3A4A6-59E1-4B7B-B514-3F752F280AB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8386EEF1-AC41-4778-BBD7-116FAEF6D28C}"/>
              </a:ext>
            </a:extLst>
          </p:cNvPr>
          <p:cNvSpPr>
            <a:spLocks noGrp="1"/>
          </p:cNvSpPr>
          <p:nvPr>
            <p:ph type="dt" sz="half" idx="27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6E61E87C-49DB-4099-8EEC-CCD9F0C4915F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7E7BD72-3FB4-4983-8305-EFB8CE80CD7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742726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Untertitel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2060848"/>
            <a:ext cx="5471380" cy="42487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6" hasCustomPrompt="1"/>
          </p:nvPr>
        </p:nvSpPr>
        <p:spPr bwMode="gray">
          <a:xfrm>
            <a:off x="6313611" y="2060848"/>
            <a:ext cx="5472000" cy="42487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0" name="Textplatzhalter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9575" y="1412776"/>
            <a:ext cx="5471380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dirty="0">
                <a:solidFill>
                  <a:schemeClr val="accent2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Untertitel 1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9575" y="1700708"/>
            <a:ext cx="5471380" cy="215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defRPr lang="de-DE" sz="1400" b="0" dirty="0"/>
            </a:lvl1pPr>
          </a:lstStyle>
          <a:p>
            <a:r>
              <a:rPr lang="de-DE" sz="1400" b="0" dirty="0"/>
              <a:t>Untertitel 2</a:t>
            </a:r>
            <a:endParaRPr lang="de-DE" b="0" dirty="0"/>
          </a:p>
        </p:txBody>
      </p:sp>
      <p:sp>
        <p:nvSpPr>
          <p:cNvPr id="13" name="Textplatzhalter 11"/>
          <p:cNvSpPr>
            <a:spLocks noGrp="1"/>
          </p:cNvSpPr>
          <p:nvPr>
            <p:ph type="body" sz="quarter" idx="27" hasCustomPrompt="1"/>
          </p:nvPr>
        </p:nvSpPr>
        <p:spPr bwMode="gray">
          <a:xfrm>
            <a:off x="6313611" y="1412776"/>
            <a:ext cx="5472000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dirty="0">
                <a:solidFill>
                  <a:schemeClr val="accent2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Untertitel 1</a:t>
            </a:r>
          </a:p>
        </p:txBody>
      </p:sp>
      <p:sp>
        <p:nvSpPr>
          <p:cNvPr id="14" name="Textplatzhalter 3"/>
          <p:cNvSpPr>
            <a:spLocks noGrp="1"/>
          </p:cNvSpPr>
          <p:nvPr>
            <p:ph type="body" sz="quarter" idx="28" hasCustomPrompt="1"/>
          </p:nvPr>
        </p:nvSpPr>
        <p:spPr bwMode="gray">
          <a:xfrm>
            <a:off x="6313611" y="1700708"/>
            <a:ext cx="5472000" cy="215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defRPr lang="de-DE" sz="1400" b="0" dirty="0"/>
            </a:lvl1pPr>
          </a:lstStyle>
          <a:p>
            <a:r>
              <a:rPr lang="de-DE" sz="1400" b="0" dirty="0"/>
              <a:t>Untertitel 2</a:t>
            </a:r>
            <a:endParaRPr lang="de-DE" b="0" dirty="0"/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11374438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BC8ED0AC-12B9-494D-AF0D-9DA5C00CE04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F6F5F25-D3A1-4DAF-84BB-627B213A32B6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FA81794-25E1-48C3-A9ED-A0B3F6CB2BC6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B31E850C-ECA2-4F5F-A6A5-A7D3ED58EC97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694686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  <p15:guide id="11" orient="horz" pos="1298">
          <p15:clr>
            <a:srgbClr val="C35EA4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spaltig mit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2"/>
          <p:cNvSpPr>
            <a:spLocks noGrp="1"/>
          </p:cNvSpPr>
          <p:nvPr>
            <p:ph sz="quarter" idx="26" hasCustomPrompt="1"/>
          </p:nvPr>
        </p:nvSpPr>
        <p:spPr bwMode="gray">
          <a:xfrm>
            <a:off x="409575" y="1412776"/>
            <a:ext cx="3527379" cy="4895851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sz="quarter" idx="27" hasCustomPrompt="1"/>
          </p:nvPr>
        </p:nvSpPr>
        <p:spPr bwMode="gray">
          <a:xfrm>
            <a:off x="8258175" y="1412776"/>
            <a:ext cx="3527375" cy="4895851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8" hasCustomPrompt="1"/>
          </p:nvPr>
        </p:nvSpPr>
        <p:spPr bwMode="gray">
          <a:xfrm>
            <a:off x="4333875" y="1412776"/>
            <a:ext cx="3527379" cy="4895851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09575" y="6001543"/>
            <a:ext cx="11375354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75BE83B1-2458-4EF8-968B-9C033420455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5A59AB60-4B38-4E95-AB8B-146BCCEA63E2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CBD139B5-09CB-41FF-8C16-41101AD606D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FF18CCE-78BF-4E21-93E0-6ED91C0B9130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30336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80">
          <p15:clr>
            <a:srgbClr val="F26B43"/>
          </p15:clr>
        </p15:guide>
        <p15:guide id="2" pos="2730">
          <p15:clr>
            <a:srgbClr val="F26B43"/>
          </p15:clr>
        </p15:guide>
        <p15:guide id="3" pos="4952">
          <p15:clr>
            <a:srgbClr val="F26B43"/>
          </p15:clr>
        </p15:guide>
        <p15:guide id="4" pos="5202">
          <p15:clr>
            <a:srgbClr val="F26B43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reispaltig mit Untertitel und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Inhaltsplatzhalter 2"/>
          <p:cNvSpPr>
            <a:spLocks noGrp="1"/>
          </p:cNvSpPr>
          <p:nvPr>
            <p:ph sz="quarter" idx="26" hasCustomPrompt="1"/>
          </p:nvPr>
        </p:nvSpPr>
        <p:spPr bwMode="gray">
          <a:xfrm>
            <a:off x="409575" y="2060848"/>
            <a:ext cx="3527379" cy="4248151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Inhaltsplatzhalter 2"/>
          <p:cNvSpPr>
            <a:spLocks noGrp="1"/>
          </p:cNvSpPr>
          <p:nvPr>
            <p:ph sz="quarter" idx="27" hasCustomPrompt="1"/>
          </p:nvPr>
        </p:nvSpPr>
        <p:spPr bwMode="gray">
          <a:xfrm>
            <a:off x="8258175" y="2060848"/>
            <a:ext cx="3527375" cy="4248151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8" name="Inhaltsplatzhalter 2"/>
          <p:cNvSpPr>
            <a:spLocks noGrp="1"/>
          </p:cNvSpPr>
          <p:nvPr>
            <p:ph sz="quarter" idx="28" hasCustomPrompt="1"/>
          </p:nvPr>
        </p:nvSpPr>
        <p:spPr bwMode="gray">
          <a:xfrm>
            <a:off x="4333875" y="2060848"/>
            <a:ext cx="3527379" cy="4248151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Textplatzhalter 11"/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409575" y="1412776"/>
            <a:ext cx="3527379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dirty="0">
                <a:solidFill>
                  <a:schemeClr val="accent2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Untertitel 1</a:t>
            </a:r>
          </a:p>
        </p:txBody>
      </p:sp>
      <p:sp>
        <p:nvSpPr>
          <p:cNvPr id="17" name="Textplatzhalter 3"/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09575" y="1700708"/>
            <a:ext cx="3527379" cy="215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defRPr lang="de-DE" sz="1400" b="0" dirty="0"/>
            </a:lvl1pPr>
          </a:lstStyle>
          <a:p>
            <a:r>
              <a:rPr lang="de-DE" sz="1400" b="0" dirty="0"/>
              <a:t>Untertitel 2</a:t>
            </a:r>
            <a:endParaRPr lang="de-DE" b="0" dirty="0"/>
          </a:p>
        </p:txBody>
      </p:sp>
      <p:sp>
        <p:nvSpPr>
          <p:cNvPr id="20" name="Textplatzhalter 11"/>
          <p:cNvSpPr>
            <a:spLocks noGrp="1"/>
          </p:cNvSpPr>
          <p:nvPr>
            <p:ph type="body" sz="quarter" idx="31" hasCustomPrompt="1"/>
          </p:nvPr>
        </p:nvSpPr>
        <p:spPr bwMode="gray">
          <a:xfrm>
            <a:off x="4333875" y="1412776"/>
            <a:ext cx="3527379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dirty="0">
                <a:solidFill>
                  <a:schemeClr val="accent2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Untertitel 1</a:t>
            </a:r>
          </a:p>
        </p:txBody>
      </p:sp>
      <p:sp>
        <p:nvSpPr>
          <p:cNvPr id="21" name="Textplatzhalter 3"/>
          <p:cNvSpPr>
            <a:spLocks noGrp="1"/>
          </p:cNvSpPr>
          <p:nvPr>
            <p:ph type="body" sz="quarter" idx="32" hasCustomPrompt="1"/>
          </p:nvPr>
        </p:nvSpPr>
        <p:spPr bwMode="gray">
          <a:xfrm>
            <a:off x="4333875" y="1700708"/>
            <a:ext cx="3527379" cy="215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defRPr lang="de-DE" sz="1400" b="0" dirty="0"/>
            </a:lvl1pPr>
          </a:lstStyle>
          <a:p>
            <a:r>
              <a:rPr lang="de-DE" sz="1400" b="0" dirty="0"/>
              <a:t>Untertitel 2</a:t>
            </a:r>
            <a:endParaRPr lang="de-DE" b="0" dirty="0"/>
          </a:p>
        </p:txBody>
      </p:sp>
      <p:sp>
        <p:nvSpPr>
          <p:cNvPr id="22" name="Textplatzhalter 11"/>
          <p:cNvSpPr>
            <a:spLocks noGrp="1"/>
          </p:cNvSpPr>
          <p:nvPr>
            <p:ph type="body" sz="quarter" idx="33" hasCustomPrompt="1"/>
          </p:nvPr>
        </p:nvSpPr>
        <p:spPr bwMode="gray">
          <a:xfrm>
            <a:off x="8258175" y="1412776"/>
            <a:ext cx="3527375" cy="27699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None/>
              <a:defRPr lang="de-DE" dirty="0">
                <a:solidFill>
                  <a:schemeClr val="accent2"/>
                </a:solidFill>
              </a:defRPr>
            </a:lvl1pPr>
          </a:lstStyle>
          <a:p>
            <a:pPr marL="0" lv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de-DE" dirty="0"/>
              <a:t>Untertitel 1</a:t>
            </a:r>
          </a:p>
        </p:txBody>
      </p:sp>
      <p:sp>
        <p:nvSpPr>
          <p:cNvPr id="23" name="Textplatzhalter 3"/>
          <p:cNvSpPr>
            <a:spLocks noGrp="1"/>
          </p:cNvSpPr>
          <p:nvPr>
            <p:ph type="body" sz="quarter" idx="34" hasCustomPrompt="1"/>
          </p:nvPr>
        </p:nvSpPr>
        <p:spPr bwMode="gray">
          <a:xfrm>
            <a:off x="8258175" y="1700708"/>
            <a:ext cx="3527375" cy="2154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defRPr lang="de-DE" sz="1400" b="0" dirty="0"/>
            </a:lvl1pPr>
          </a:lstStyle>
          <a:p>
            <a:r>
              <a:rPr lang="de-DE" sz="1400" b="0" dirty="0"/>
              <a:t>Untertitel 2</a:t>
            </a:r>
            <a:endParaRPr lang="de-DE" b="0" dirty="0"/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09576" y="6001543"/>
            <a:ext cx="11375974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FF755ED-A961-4AB8-BBDA-1948B43FBB1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FE964BE4-B4EF-4A95-8010-A1A2C84EFB2F}"/>
              </a:ext>
            </a:extLst>
          </p:cNvPr>
          <p:cNvSpPr>
            <a:spLocks noGrp="1"/>
          </p:cNvSpPr>
          <p:nvPr>
            <p:ph type="dt" sz="half" idx="35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DFE17E14-7C08-4315-870F-013D72D2017C}"/>
              </a:ext>
            </a:extLst>
          </p:cNvPr>
          <p:cNvSpPr>
            <a:spLocks noGrp="1"/>
          </p:cNvSpPr>
          <p:nvPr>
            <p:ph type="ftr" sz="quarter" idx="36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2297D823-4BEC-41E9-A01D-353176FC0484}"/>
              </a:ext>
            </a:extLst>
          </p:cNvPr>
          <p:cNvSpPr>
            <a:spLocks noGrp="1"/>
          </p:cNvSpPr>
          <p:nvPr>
            <p:ph type="sldNum" sz="quarter" idx="37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9926877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2480">
          <p15:clr>
            <a:srgbClr val="F26B43"/>
          </p15:clr>
        </p15:guide>
        <p15:guide id="3" pos="4952">
          <p15:clr>
            <a:srgbClr val="F26B43"/>
          </p15:clr>
        </p15:guide>
        <p15:guide id="4" pos="5202">
          <p15:clr>
            <a:srgbClr val="F26B43"/>
          </p15:clr>
        </p15:guide>
        <p15:guide id="5" orient="horz" pos="1298">
          <p15:clr>
            <a:srgbClr val="C35EA4"/>
          </p15:clr>
        </p15:guide>
        <p15:guide id="6" pos="2730">
          <p15:clr>
            <a:srgbClr val="F26B43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Vierspaltig mit Quel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Inhaltsplatzhalter 2"/>
          <p:cNvSpPr>
            <a:spLocks noGrp="1"/>
          </p:cNvSpPr>
          <p:nvPr>
            <p:ph sz="quarter" idx="27" hasCustomPrompt="1"/>
          </p:nvPr>
        </p:nvSpPr>
        <p:spPr bwMode="gray">
          <a:xfrm>
            <a:off x="409576" y="1412874"/>
            <a:ext cx="2519362" cy="4896446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2" name="Inhaltsplatzhalter 2"/>
          <p:cNvSpPr>
            <a:spLocks noGrp="1"/>
          </p:cNvSpPr>
          <p:nvPr>
            <p:ph sz="quarter" idx="28" hasCustomPrompt="1"/>
          </p:nvPr>
        </p:nvSpPr>
        <p:spPr bwMode="gray">
          <a:xfrm>
            <a:off x="3360738" y="1412874"/>
            <a:ext cx="2520950" cy="4896446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3" name="Inhaltsplatzhalter 2"/>
          <p:cNvSpPr>
            <a:spLocks noGrp="1"/>
          </p:cNvSpPr>
          <p:nvPr>
            <p:ph sz="quarter" idx="29" hasCustomPrompt="1"/>
          </p:nvPr>
        </p:nvSpPr>
        <p:spPr bwMode="gray">
          <a:xfrm>
            <a:off x="6313488" y="1412874"/>
            <a:ext cx="2520951" cy="4896446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24" name="Inhaltsplatzhalter 2"/>
          <p:cNvSpPr>
            <a:spLocks noGrp="1"/>
          </p:cNvSpPr>
          <p:nvPr>
            <p:ph sz="quarter" idx="30" hasCustomPrompt="1"/>
          </p:nvPr>
        </p:nvSpPr>
        <p:spPr bwMode="gray">
          <a:xfrm>
            <a:off x="9266238" y="1412874"/>
            <a:ext cx="2519981" cy="4896446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1" name="Textplatzhalter 3"/>
          <p:cNvSpPr>
            <a:spLocks noGrp="1"/>
          </p:cNvSpPr>
          <p:nvPr>
            <p:ph type="body" sz="quarter" idx="25" hasCustomPrompt="1"/>
          </p:nvPr>
        </p:nvSpPr>
        <p:spPr bwMode="gray">
          <a:xfrm>
            <a:off x="409575" y="6001543"/>
            <a:ext cx="11375379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6D73C63-4341-4690-BD8A-273D37E8DD0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3A3DEEEA-F19F-4C71-AA1F-5F25917455A4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3045F34B-6618-449D-A8FE-B88511BF55E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682081D-6BAC-4259-A25C-0CB149D9F31B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2640738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1845">
          <p15:clr>
            <a:srgbClr val="F26B43"/>
          </p15:clr>
        </p15:guide>
        <p15:guide id="2" pos="2117">
          <p15:clr>
            <a:srgbClr val="F26B43"/>
          </p15:clr>
        </p15:guide>
        <p15:guide id="3" pos="3705">
          <p15:clr>
            <a:srgbClr val="F26B43"/>
          </p15:clr>
        </p15:guide>
        <p15:guide id="4" pos="3977">
          <p15:clr>
            <a:srgbClr val="F26B43"/>
          </p15:clr>
        </p15:guide>
        <p15:guide id="5" pos="5565">
          <p15:clr>
            <a:srgbClr val="F26B43"/>
          </p15:clr>
        </p15:guide>
        <p15:guide id="6" pos="5837">
          <p15:clr>
            <a:srgbClr val="F26B43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inspaltig mit Bild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el 3">
            <a:extLst>
              <a:ext uri="{FF2B5EF4-FFF2-40B4-BE49-F238E27FC236}">
                <a16:creationId xmlns:a16="http://schemas.microsoft.com/office/drawing/2014/main" id="{DEEBE60E-DB8D-49DD-AD9C-2421D3EC222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1412776"/>
            <a:ext cx="5471491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4" name="Bildplatzhalter 13">
            <a:extLst>
              <a:ext uri="{FF2B5EF4-FFF2-40B4-BE49-F238E27FC236}">
                <a16:creationId xmlns:a16="http://schemas.microsoft.com/office/drawing/2014/main" id="{EB12C414-E7AF-455D-922A-9CBEC695DDA8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 bwMode="gray">
          <a:xfrm>
            <a:off x="6313611" y="407400"/>
            <a:ext cx="5473336" cy="5903281"/>
          </a:xfrm>
          <a:custGeom>
            <a:avLst/>
            <a:gdLst>
              <a:gd name="connsiteX0" fmla="*/ 4676664 w 5473336"/>
              <a:gd name="connsiteY0" fmla="*/ 1449 h 5903281"/>
              <a:gd name="connsiteX1" fmla="*/ 5473336 w 5473336"/>
              <a:gd name="connsiteY1" fmla="*/ 743339 h 5903281"/>
              <a:gd name="connsiteX2" fmla="*/ 5473336 w 5473336"/>
              <a:gd name="connsiteY2" fmla="*/ 2096552 h 5903281"/>
              <a:gd name="connsiteX3" fmla="*/ 5473336 w 5473336"/>
              <a:gd name="connsiteY3" fmla="*/ 3806731 h 5903281"/>
              <a:gd name="connsiteX4" fmla="*/ 5473336 w 5473336"/>
              <a:gd name="connsiteY4" fmla="*/ 4993882 h 5903281"/>
              <a:gd name="connsiteX5" fmla="*/ 966865 w 5473336"/>
              <a:gd name="connsiteY5" fmla="*/ 5882515 h 5903281"/>
              <a:gd name="connsiteX6" fmla="*/ 0 w 5473336"/>
              <a:gd name="connsiteY6" fmla="*/ 5159944 h 5903281"/>
              <a:gd name="connsiteX7" fmla="*/ 0 w 5473336"/>
              <a:gd name="connsiteY7" fmla="*/ 3806731 h 5903281"/>
              <a:gd name="connsiteX8" fmla="*/ 0 w 5473336"/>
              <a:gd name="connsiteY8" fmla="*/ 2096552 h 5903281"/>
              <a:gd name="connsiteX9" fmla="*/ 0 w 5473336"/>
              <a:gd name="connsiteY9" fmla="*/ 909401 h 5903281"/>
              <a:gd name="connsiteX10" fmla="*/ 4506471 w 5473336"/>
              <a:gd name="connsiteY10" fmla="*/ 20768 h 5903281"/>
              <a:gd name="connsiteX11" fmla="*/ 4676664 w 5473336"/>
              <a:gd name="connsiteY11" fmla="*/ 1449 h 5903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73336" h="5903281">
                <a:moveTo>
                  <a:pt x="4676664" y="1449"/>
                </a:moveTo>
                <a:cubicBezTo>
                  <a:pt x="5473336" y="-38045"/>
                  <a:pt x="5473336" y="743339"/>
                  <a:pt x="5473336" y="743339"/>
                </a:cubicBezTo>
                <a:lnTo>
                  <a:pt x="5473336" y="2096552"/>
                </a:lnTo>
                <a:lnTo>
                  <a:pt x="5473336" y="3806731"/>
                </a:lnTo>
                <a:lnTo>
                  <a:pt x="5473336" y="4993882"/>
                </a:lnTo>
                <a:lnTo>
                  <a:pt x="966865" y="5882515"/>
                </a:lnTo>
                <a:cubicBezTo>
                  <a:pt x="0" y="6048985"/>
                  <a:pt x="0" y="5159944"/>
                  <a:pt x="0" y="5159944"/>
                </a:cubicBezTo>
                <a:lnTo>
                  <a:pt x="0" y="3806731"/>
                </a:lnTo>
                <a:lnTo>
                  <a:pt x="0" y="2096552"/>
                </a:lnTo>
                <a:lnTo>
                  <a:pt x="0" y="909401"/>
                </a:lnTo>
                <a:lnTo>
                  <a:pt x="4506471" y="20768"/>
                </a:lnTo>
                <a:cubicBezTo>
                  <a:pt x="4566900" y="10364"/>
                  <a:pt x="4623552" y="4082"/>
                  <a:pt x="4676664" y="1449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</a:t>
            </a:r>
            <a:br>
              <a:rPr lang="de-DE" sz="1600" dirty="0"/>
            </a:br>
            <a:r>
              <a:rPr lang="de-DE" sz="1600" dirty="0"/>
              <a:t>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Bibliothek oder über den Reiter „Einfügen“, „Bilder“ aus. 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5472112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C5205EA1-1639-4F30-AF68-7B22600A88EF}"/>
              </a:ext>
            </a:extLst>
          </p:cNvPr>
          <p:cNvSpPr>
            <a:spLocks noGrp="1"/>
          </p:cNvSpPr>
          <p:nvPr>
            <p:ph type="dt" sz="half" idx="28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B26FFBD5-254C-4569-AEC0-62518BE0B146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891DA30A-614F-471D-ADA9-5B8FA487254A}"/>
              </a:ext>
            </a:extLst>
          </p:cNvPr>
          <p:cNvSpPr>
            <a:spLocks noGrp="1"/>
          </p:cNvSpPr>
          <p:nvPr>
            <p:ph type="sldNum" sz="quarter" idx="30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27833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inspaltig mit Bild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12">
            <a:extLst>
              <a:ext uri="{FF2B5EF4-FFF2-40B4-BE49-F238E27FC236}">
                <a16:creationId xmlns:a16="http://schemas.microsoft.com/office/drawing/2014/main" id="{850631F5-C5A4-4332-ADBE-F5BC82829315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 bwMode="gray">
          <a:xfrm>
            <a:off x="6103895" y="-1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</a:t>
            </a:r>
            <a:br>
              <a:rPr lang="de-DE" sz="1600" dirty="0"/>
            </a:br>
            <a:r>
              <a:rPr lang="de-DE" sz="1600" dirty="0"/>
              <a:t>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</a:t>
            </a:r>
            <a:br>
              <a:rPr lang="de-DE" sz="1600" dirty="0"/>
            </a:br>
            <a:r>
              <a:rPr lang="de-DE" sz="1600" dirty="0"/>
              <a:t>Bibliothek oder über den Reiter „Einfügen“, „Bilder“ aus. 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1412776"/>
            <a:ext cx="5472113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6" y="6001543"/>
            <a:ext cx="5472112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459DFFE7-845B-4F17-9659-3E651A67BF8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9575" y="404664"/>
            <a:ext cx="5472113" cy="720000"/>
          </a:xfrm>
        </p:spPr>
        <p:txBody>
          <a:bodyPr/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E359EBD7-A581-4999-A836-29FDB72FBDC2}"/>
              </a:ext>
            </a:extLst>
          </p:cNvPr>
          <p:cNvSpPr txBox="1"/>
          <p:nvPr userDrawn="1"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</p:spTree>
    <p:extLst>
      <p:ext uri="{BB962C8B-B14F-4D97-AF65-F5344CB8AC3E}">
        <p14:creationId xmlns:p14="http://schemas.microsoft.com/office/powerpoint/2010/main" val="9409749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Zweispaltig mit Markenform rech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CC732F23-55C0-48E6-AC0A-1EA089022695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6103895" y="-1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568800" tIns="1411200" rIns="39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1412776"/>
            <a:ext cx="5472113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5472112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F550B05-BBDA-4484-9C99-1A5177950AB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>
          <a:xfrm>
            <a:off x="409575" y="404664"/>
            <a:ext cx="5472113" cy="720000"/>
          </a:xfrm>
        </p:spPr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6" name="Textfeld 5">
            <a:extLst>
              <a:ext uri="{FF2B5EF4-FFF2-40B4-BE49-F238E27FC236}">
                <a16:creationId xmlns:a16="http://schemas.microsoft.com/office/drawing/2014/main" id="{9576FE83-F2CB-4E92-8837-1E4F1A1A0E1D}"/>
              </a:ext>
            </a:extLst>
          </p:cNvPr>
          <p:cNvSpPr txBox="1"/>
          <p:nvPr userDrawn="1"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</p:spTree>
    <p:extLst>
      <p:ext uri="{BB962C8B-B14F-4D97-AF65-F5344CB8AC3E}">
        <p14:creationId xmlns:p14="http://schemas.microsoft.com/office/powerpoint/2010/main" val="3323479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Markenform rech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1412776"/>
            <a:ext cx="5472113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5472112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9" name="Textplatzhalter 18">
            <a:extLst>
              <a:ext uri="{FF2B5EF4-FFF2-40B4-BE49-F238E27FC236}">
                <a16:creationId xmlns:a16="http://schemas.microsoft.com/office/drawing/2014/main" id="{626B7158-D84B-4F29-8031-12791937C4A2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6313611" y="1412776"/>
            <a:ext cx="5471989" cy="4896000"/>
          </a:xfrm>
          <a:custGeom>
            <a:avLst/>
            <a:gdLst>
              <a:gd name="connsiteX0" fmla="*/ 4676664 w 5473336"/>
              <a:gd name="connsiteY0" fmla="*/ 1448 h 4883744"/>
              <a:gd name="connsiteX1" fmla="*/ 5473336 w 5473336"/>
              <a:gd name="connsiteY1" fmla="*/ 743338 h 4883744"/>
              <a:gd name="connsiteX2" fmla="*/ 5473336 w 5473336"/>
              <a:gd name="connsiteY2" fmla="*/ 1633637 h 4883744"/>
              <a:gd name="connsiteX3" fmla="*/ 5473336 w 5473336"/>
              <a:gd name="connsiteY3" fmla="*/ 1674371 h 4883744"/>
              <a:gd name="connsiteX4" fmla="*/ 5473336 w 5473336"/>
              <a:gd name="connsiteY4" fmla="*/ 1677497 h 4883744"/>
              <a:gd name="connsiteX5" fmla="*/ 5473336 w 5473336"/>
              <a:gd name="connsiteY5" fmla="*/ 1812665 h 4883744"/>
              <a:gd name="connsiteX6" fmla="*/ 5473336 w 5473336"/>
              <a:gd name="connsiteY6" fmla="*/ 1856161 h 4883744"/>
              <a:gd name="connsiteX7" fmla="*/ 5473336 w 5473336"/>
              <a:gd name="connsiteY7" fmla="*/ 1958257 h 4883744"/>
              <a:gd name="connsiteX8" fmla="*/ 5473336 w 5473336"/>
              <a:gd name="connsiteY8" fmla="*/ 2093425 h 4883744"/>
              <a:gd name="connsiteX9" fmla="*/ 5473336 w 5473336"/>
              <a:gd name="connsiteY9" fmla="*/ 2096551 h 4883744"/>
              <a:gd name="connsiteX10" fmla="*/ 5473336 w 5473336"/>
              <a:gd name="connsiteY10" fmla="*/ 2377311 h 4883744"/>
              <a:gd name="connsiteX11" fmla="*/ 5473336 w 5473336"/>
              <a:gd name="connsiteY11" fmla="*/ 2506434 h 4883744"/>
              <a:gd name="connsiteX12" fmla="*/ 5473336 w 5473336"/>
              <a:gd name="connsiteY12" fmla="*/ 2787194 h 4883744"/>
              <a:gd name="connsiteX13" fmla="*/ 5473336 w 5473336"/>
              <a:gd name="connsiteY13" fmla="*/ 2790320 h 4883744"/>
              <a:gd name="connsiteX14" fmla="*/ 5473336 w 5473336"/>
              <a:gd name="connsiteY14" fmla="*/ 2861522 h 4883744"/>
              <a:gd name="connsiteX15" fmla="*/ 5473336 w 5473336"/>
              <a:gd name="connsiteY15" fmla="*/ 2925488 h 4883744"/>
              <a:gd name="connsiteX16" fmla="*/ 5473336 w 5473336"/>
              <a:gd name="connsiteY16" fmla="*/ 3071080 h 4883744"/>
              <a:gd name="connsiteX17" fmla="*/ 5473336 w 5473336"/>
              <a:gd name="connsiteY17" fmla="*/ 3078035 h 4883744"/>
              <a:gd name="connsiteX18" fmla="*/ 5473336 w 5473336"/>
              <a:gd name="connsiteY18" fmla="*/ 3206248 h 4883744"/>
              <a:gd name="connsiteX19" fmla="*/ 5473336 w 5473336"/>
              <a:gd name="connsiteY19" fmla="*/ 3974345 h 4883744"/>
              <a:gd name="connsiteX20" fmla="*/ 966865 w 5473336"/>
              <a:gd name="connsiteY20" fmla="*/ 4862978 h 4883744"/>
              <a:gd name="connsiteX21" fmla="*/ 0 w 5473336"/>
              <a:gd name="connsiteY21" fmla="*/ 4140407 h 4883744"/>
              <a:gd name="connsiteX22" fmla="*/ 0 w 5473336"/>
              <a:gd name="connsiteY22" fmla="*/ 3206248 h 4883744"/>
              <a:gd name="connsiteX23" fmla="*/ 0 w 5473336"/>
              <a:gd name="connsiteY23" fmla="*/ 3078035 h 4883744"/>
              <a:gd name="connsiteX24" fmla="*/ 0 w 5473336"/>
              <a:gd name="connsiteY24" fmla="*/ 3071080 h 4883744"/>
              <a:gd name="connsiteX25" fmla="*/ 0 w 5473336"/>
              <a:gd name="connsiteY25" fmla="*/ 3027584 h 4883744"/>
              <a:gd name="connsiteX26" fmla="*/ 0 w 5473336"/>
              <a:gd name="connsiteY26" fmla="*/ 2925488 h 4883744"/>
              <a:gd name="connsiteX27" fmla="*/ 0 w 5473336"/>
              <a:gd name="connsiteY27" fmla="*/ 2790320 h 4883744"/>
              <a:gd name="connsiteX28" fmla="*/ 0 w 5473336"/>
              <a:gd name="connsiteY28" fmla="*/ 2787194 h 4883744"/>
              <a:gd name="connsiteX29" fmla="*/ 0 w 5473336"/>
              <a:gd name="connsiteY29" fmla="*/ 2506434 h 4883744"/>
              <a:gd name="connsiteX30" fmla="*/ 0 w 5473336"/>
              <a:gd name="connsiteY30" fmla="*/ 2377311 h 4883744"/>
              <a:gd name="connsiteX31" fmla="*/ 0 w 5473336"/>
              <a:gd name="connsiteY31" fmla="*/ 2096551 h 4883744"/>
              <a:gd name="connsiteX32" fmla="*/ 0 w 5473336"/>
              <a:gd name="connsiteY32" fmla="*/ 2093425 h 4883744"/>
              <a:gd name="connsiteX33" fmla="*/ 0 w 5473336"/>
              <a:gd name="connsiteY33" fmla="*/ 2022223 h 4883744"/>
              <a:gd name="connsiteX34" fmla="*/ 0 w 5473336"/>
              <a:gd name="connsiteY34" fmla="*/ 1958257 h 4883744"/>
              <a:gd name="connsiteX35" fmla="*/ 0 w 5473336"/>
              <a:gd name="connsiteY35" fmla="*/ 1812665 h 4883744"/>
              <a:gd name="connsiteX36" fmla="*/ 0 w 5473336"/>
              <a:gd name="connsiteY36" fmla="*/ 1738337 h 4883744"/>
              <a:gd name="connsiteX37" fmla="*/ 0 w 5473336"/>
              <a:gd name="connsiteY37" fmla="*/ 1677497 h 4883744"/>
              <a:gd name="connsiteX38" fmla="*/ 0 w 5473336"/>
              <a:gd name="connsiteY38" fmla="*/ 1674371 h 4883744"/>
              <a:gd name="connsiteX39" fmla="*/ 0 w 5473336"/>
              <a:gd name="connsiteY39" fmla="*/ 1633637 h 4883744"/>
              <a:gd name="connsiteX40" fmla="*/ 0 w 5473336"/>
              <a:gd name="connsiteY40" fmla="*/ 909400 h 4883744"/>
              <a:gd name="connsiteX41" fmla="*/ 4506471 w 5473336"/>
              <a:gd name="connsiteY41" fmla="*/ 20767 h 4883744"/>
              <a:gd name="connsiteX42" fmla="*/ 4676664 w 5473336"/>
              <a:gd name="connsiteY42" fmla="*/ 1448 h 488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473336" h="4883744">
                <a:moveTo>
                  <a:pt x="4676664" y="1448"/>
                </a:moveTo>
                <a:cubicBezTo>
                  <a:pt x="5473336" y="-38046"/>
                  <a:pt x="5473336" y="743338"/>
                  <a:pt x="5473336" y="743338"/>
                </a:cubicBezTo>
                <a:lnTo>
                  <a:pt x="5473336" y="1633637"/>
                </a:lnTo>
                <a:lnTo>
                  <a:pt x="5473336" y="1674371"/>
                </a:lnTo>
                <a:lnTo>
                  <a:pt x="5473336" y="1677497"/>
                </a:lnTo>
                <a:lnTo>
                  <a:pt x="5473336" y="1812665"/>
                </a:lnTo>
                <a:lnTo>
                  <a:pt x="5473336" y="1856161"/>
                </a:lnTo>
                <a:lnTo>
                  <a:pt x="5473336" y="1958257"/>
                </a:lnTo>
                <a:lnTo>
                  <a:pt x="5473336" y="2093425"/>
                </a:lnTo>
                <a:lnTo>
                  <a:pt x="5473336" y="2096551"/>
                </a:lnTo>
                <a:lnTo>
                  <a:pt x="5473336" y="2377311"/>
                </a:lnTo>
                <a:lnTo>
                  <a:pt x="5473336" y="2506434"/>
                </a:lnTo>
                <a:lnTo>
                  <a:pt x="5473336" y="2787194"/>
                </a:lnTo>
                <a:lnTo>
                  <a:pt x="5473336" y="2790320"/>
                </a:lnTo>
                <a:lnTo>
                  <a:pt x="5473336" y="2861522"/>
                </a:lnTo>
                <a:lnTo>
                  <a:pt x="5473336" y="2925488"/>
                </a:lnTo>
                <a:lnTo>
                  <a:pt x="5473336" y="3071080"/>
                </a:lnTo>
                <a:lnTo>
                  <a:pt x="5473336" y="3078035"/>
                </a:lnTo>
                <a:lnTo>
                  <a:pt x="5473336" y="3206248"/>
                </a:lnTo>
                <a:lnTo>
                  <a:pt x="5473336" y="3974345"/>
                </a:lnTo>
                <a:lnTo>
                  <a:pt x="966865" y="4862978"/>
                </a:lnTo>
                <a:cubicBezTo>
                  <a:pt x="0" y="5029448"/>
                  <a:pt x="0" y="4140407"/>
                  <a:pt x="0" y="4140407"/>
                </a:cubicBezTo>
                <a:lnTo>
                  <a:pt x="0" y="3206248"/>
                </a:lnTo>
                <a:lnTo>
                  <a:pt x="0" y="3078035"/>
                </a:lnTo>
                <a:lnTo>
                  <a:pt x="0" y="3071080"/>
                </a:lnTo>
                <a:lnTo>
                  <a:pt x="0" y="3027584"/>
                </a:lnTo>
                <a:lnTo>
                  <a:pt x="0" y="2925488"/>
                </a:lnTo>
                <a:lnTo>
                  <a:pt x="0" y="2790320"/>
                </a:lnTo>
                <a:lnTo>
                  <a:pt x="0" y="2787194"/>
                </a:lnTo>
                <a:lnTo>
                  <a:pt x="0" y="2506434"/>
                </a:lnTo>
                <a:lnTo>
                  <a:pt x="0" y="2377311"/>
                </a:lnTo>
                <a:lnTo>
                  <a:pt x="0" y="2096551"/>
                </a:lnTo>
                <a:lnTo>
                  <a:pt x="0" y="2093425"/>
                </a:lnTo>
                <a:lnTo>
                  <a:pt x="0" y="2022223"/>
                </a:lnTo>
                <a:lnTo>
                  <a:pt x="0" y="1958257"/>
                </a:lnTo>
                <a:lnTo>
                  <a:pt x="0" y="1812665"/>
                </a:lnTo>
                <a:lnTo>
                  <a:pt x="0" y="1738337"/>
                </a:lnTo>
                <a:lnTo>
                  <a:pt x="0" y="1677497"/>
                </a:lnTo>
                <a:lnTo>
                  <a:pt x="0" y="1674371"/>
                </a:lnTo>
                <a:lnTo>
                  <a:pt x="0" y="1633637"/>
                </a:lnTo>
                <a:lnTo>
                  <a:pt x="0" y="909400"/>
                </a:lnTo>
                <a:lnTo>
                  <a:pt x="4506471" y="20767"/>
                </a:lnTo>
                <a:cubicBezTo>
                  <a:pt x="4566900" y="10363"/>
                  <a:pt x="4623552" y="4081"/>
                  <a:pt x="4676664" y="1448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324000" tIns="1224000" rIns="32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FE974D80-B87D-44B1-875D-F9BA8E8FAC8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07DB49D-3556-4083-AAC4-9B636E769AD5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E04A1ABA-44D1-40D6-BBA8-3E08CE64343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3EA5F89F-26B8-4C5D-A30C-DE9350F837DD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97732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Markenform recht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409575" y="1412776"/>
            <a:ext cx="5472112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409575" y="6001543"/>
            <a:ext cx="5472224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79BB5B79-6419-4316-A447-A1CBD97E853A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6313611" y="1412776"/>
            <a:ext cx="5472112" cy="4896000"/>
          </a:xfrm>
          <a:custGeom>
            <a:avLst/>
            <a:gdLst>
              <a:gd name="connsiteX0" fmla="*/ 4676664 w 5473336"/>
              <a:gd name="connsiteY0" fmla="*/ 1448 h 4883744"/>
              <a:gd name="connsiteX1" fmla="*/ 5473336 w 5473336"/>
              <a:gd name="connsiteY1" fmla="*/ 743338 h 4883744"/>
              <a:gd name="connsiteX2" fmla="*/ 5473336 w 5473336"/>
              <a:gd name="connsiteY2" fmla="*/ 1633637 h 4883744"/>
              <a:gd name="connsiteX3" fmla="*/ 5473336 w 5473336"/>
              <a:gd name="connsiteY3" fmla="*/ 1674371 h 4883744"/>
              <a:gd name="connsiteX4" fmla="*/ 5473336 w 5473336"/>
              <a:gd name="connsiteY4" fmla="*/ 1677497 h 4883744"/>
              <a:gd name="connsiteX5" fmla="*/ 5473336 w 5473336"/>
              <a:gd name="connsiteY5" fmla="*/ 1812665 h 4883744"/>
              <a:gd name="connsiteX6" fmla="*/ 5473336 w 5473336"/>
              <a:gd name="connsiteY6" fmla="*/ 1856161 h 4883744"/>
              <a:gd name="connsiteX7" fmla="*/ 5473336 w 5473336"/>
              <a:gd name="connsiteY7" fmla="*/ 1958257 h 4883744"/>
              <a:gd name="connsiteX8" fmla="*/ 5473336 w 5473336"/>
              <a:gd name="connsiteY8" fmla="*/ 2093425 h 4883744"/>
              <a:gd name="connsiteX9" fmla="*/ 5473336 w 5473336"/>
              <a:gd name="connsiteY9" fmla="*/ 2096551 h 4883744"/>
              <a:gd name="connsiteX10" fmla="*/ 5473336 w 5473336"/>
              <a:gd name="connsiteY10" fmla="*/ 2377311 h 4883744"/>
              <a:gd name="connsiteX11" fmla="*/ 5473336 w 5473336"/>
              <a:gd name="connsiteY11" fmla="*/ 2506434 h 4883744"/>
              <a:gd name="connsiteX12" fmla="*/ 5473336 w 5473336"/>
              <a:gd name="connsiteY12" fmla="*/ 2787194 h 4883744"/>
              <a:gd name="connsiteX13" fmla="*/ 5473336 w 5473336"/>
              <a:gd name="connsiteY13" fmla="*/ 2790320 h 4883744"/>
              <a:gd name="connsiteX14" fmla="*/ 5473336 w 5473336"/>
              <a:gd name="connsiteY14" fmla="*/ 2861522 h 4883744"/>
              <a:gd name="connsiteX15" fmla="*/ 5473336 w 5473336"/>
              <a:gd name="connsiteY15" fmla="*/ 2925488 h 4883744"/>
              <a:gd name="connsiteX16" fmla="*/ 5473336 w 5473336"/>
              <a:gd name="connsiteY16" fmla="*/ 3071080 h 4883744"/>
              <a:gd name="connsiteX17" fmla="*/ 5473336 w 5473336"/>
              <a:gd name="connsiteY17" fmla="*/ 3078035 h 4883744"/>
              <a:gd name="connsiteX18" fmla="*/ 5473336 w 5473336"/>
              <a:gd name="connsiteY18" fmla="*/ 3206248 h 4883744"/>
              <a:gd name="connsiteX19" fmla="*/ 5473336 w 5473336"/>
              <a:gd name="connsiteY19" fmla="*/ 3974345 h 4883744"/>
              <a:gd name="connsiteX20" fmla="*/ 966865 w 5473336"/>
              <a:gd name="connsiteY20" fmla="*/ 4862978 h 4883744"/>
              <a:gd name="connsiteX21" fmla="*/ 0 w 5473336"/>
              <a:gd name="connsiteY21" fmla="*/ 4140407 h 4883744"/>
              <a:gd name="connsiteX22" fmla="*/ 0 w 5473336"/>
              <a:gd name="connsiteY22" fmla="*/ 3206248 h 4883744"/>
              <a:gd name="connsiteX23" fmla="*/ 0 w 5473336"/>
              <a:gd name="connsiteY23" fmla="*/ 3078035 h 4883744"/>
              <a:gd name="connsiteX24" fmla="*/ 0 w 5473336"/>
              <a:gd name="connsiteY24" fmla="*/ 3071080 h 4883744"/>
              <a:gd name="connsiteX25" fmla="*/ 0 w 5473336"/>
              <a:gd name="connsiteY25" fmla="*/ 3027584 h 4883744"/>
              <a:gd name="connsiteX26" fmla="*/ 0 w 5473336"/>
              <a:gd name="connsiteY26" fmla="*/ 2925488 h 4883744"/>
              <a:gd name="connsiteX27" fmla="*/ 0 w 5473336"/>
              <a:gd name="connsiteY27" fmla="*/ 2790320 h 4883744"/>
              <a:gd name="connsiteX28" fmla="*/ 0 w 5473336"/>
              <a:gd name="connsiteY28" fmla="*/ 2787194 h 4883744"/>
              <a:gd name="connsiteX29" fmla="*/ 0 w 5473336"/>
              <a:gd name="connsiteY29" fmla="*/ 2506434 h 4883744"/>
              <a:gd name="connsiteX30" fmla="*/ 0 w 5473336"/>
              <a:gd name="connsiteY30" fmla="*/ 2377311 h 4883744"/>
              <a:gd name="connsiteX31" fmla="*/ 0 w 5473336"/>
              <a:gd name="connsiteY31" fmla="*/ 2096551 h 4883744"/>
              <a:gd name="connsiteX32" fmla="*/ 0 w 5473336"/>
              <a:gd name="connsiteY32" fmla="*/ 2093425 h 4883744"/>
              <a:gd name="connsiteX33" fmla="*/ 0 w 5473336"/>
              <a:gd name="connsiteY33" fmla="*/ 2022223 h 4883744"/>
              <a:gd name="connsiteX34" fmla="*/ 0 w 5473336"/>
              <a:gd name="connsiteY34" fmla="*/ 1958257 h 4883744"/>
              <a:gd name="connsiteX35" fmla="*/ 0 w 5473336"/>
              <a:gd name="connsiteY35" fmla="*/ 1812665 h 4883744"/>
              <a:gd name="connsiteX36" fmla="*/ 0 w 5473336"/>
              <a:gd name="connsiteY36" fmla="*/ 1738337 h 4883744"/>
              <a:gd name="connsiteX37" fmla="*/ 0 w 5473336"/>
              <a:gd name="connsiteY37" fmla="*/ 1677497 h 4883744"/>
              <a:gd name="connsiteX38" fmla="*/ 0 w 5473336"/>
              <a:gd name="connsiteY38" fmla="*/ 1674371 h 4883744"/>
              <a:gd name="connsiteX39" fmla="*/ 0 w 5473336"/>
              <a:gd name="connsiteY39" fmla="*/ 1633637 h 4883744"/>
              <a:gd name="connsiteX40" fmla="*/ 0 w 5473336"/>
              <a:gd name="connsiteY40" fmla="*/ 909400 h 4883744"/>
              <a:gd name="connsiteX41" fmla="*/ 4506471 w 5473336"/>
              <a:gd name="connsiteY41" fmla="*/ 20767 h 4883744"/>
              <a:gd name="connsiteX42" fmla="*/ 4676664 w 5473336"/>
              <a:gd name="connsiteY42" fmla="*/ 1448 h 488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473336" h="4883744">
                <a:moveTo>
                  <a:pt x="4676664" y="1448"/>
                </a:moveTo>
                <a:cubicBezTo>
                  <a:pt x="5473336" y="-38046"/>
                  <a:pt x="5473336" y="743338"/>
                  <a:pt x="5473336" y="743338"/>
                </a:cubicBezTo>
                <a:lnTo>
                  <a:pt x="5473336" y="1633637"/>
                </a:lnTo>
                <a:lnTo>
                  <a:pt x="5473336" y="1674371"/>
                </a:lnTo>
                <a:lnTo>
                  <a:pt x="5473336" y="1677497"/>
                </a:lnTo>
                <a:lnTo>
                  <a:pt x="5473336" y="1812665"/>
                </a:lnTo>
                <a:lnTo>
                  <a:pt x="5473336" y="1856161"/>
                </a:lnTo>
                <a:lnTo>
                  <a:pt x="5473336" y="1958257"/>
                </a:lnTo>
                <a:lnTo>
                  <a:pt x="5473336" y="2093425"/>
                </a:lnTo>
                <a:lnTo>
                  <a:pt x="5473336" y="2096551"/>
                </a:lnTo>
                <a:lnTo>
                  <a:pt x="5473336" y="2377311"/>
                </a:lnTo>
                <a:lnTo>
                  <a:pt x="5473336" y="2506434"/>
                </a:lnTo>
                <a:lnTo>
                  <a:pt x="5473336" y="2787194"/>
                </a:lnTo>
                <a:lnTo>
                  <a:pt x="5473336" y="2790320"/>
                </a:lnTo>
                <a:lnTo>
                  <a:pt x="5473336" y="2861522"/>
                </a:lnTo>
                <a:lnTo>
                  <a:pt x="5473336" y="2925488"/>
                </a:lnTo>
                <a:lnTo>
                  <a:pt x="5473336" y="3071080"/>
                </a:lnTo>
                <a:lnTo>
                  <a:pt x="5473336" y="3078035"/>
                </a:lnTo>
                <a:lnTo>
                  <a:pt x="5473336" y="3206248"/>
                </a:lnTo>
                <a:lnTo>
                  <a:pt x="5473336" y="3974345"/>
                </a:lnTo>
                <a:lnTo>
                  <a:pt x="966865" y="4862978"/>
                </a:lnTo>
                <a:cubicBezTo>
                  <a:pt x="0" y="5029448"/>
                  <a:pt x="0" y="4140407"/>
                  <a:pt x="0" y="4140407"/>
                </a:cubicBezTo>
                <a:lnTo>
                  <a:pt x="0" y="3206248"/>
                </a:lnTo>
                <a:lnTo>
                  <a:pt x="0" y="3078035"/>
                </a:lnTo>
                <a:lnTo>
                  <a:pt x="0" y="3071080"/>
                </a:lnTo>
                <a:lnTo>
                  <a:pt x="0" y="3027584"/>
                </a:lnTo>
                <a:lnTo>
                  <a:pt x="0" y="2925488"/>
                </a:lnTo>
                <a:lnTo>
                  <a:pt x="0" y="2790320"/>
                </a:lnTo>
                <a:lnTo>
                  <a:pt x="0" y="2787194"/>
                </a:lnTo>
                <a:lnTo>
                  <a:pt x="0" y="2506434"/>
                </a:lnTo>
                <a:lnTo>
                  <a:pt x="0" y="2377311"/>
                </a:lnTo>
                <a:lnTo>
                  <a:pt x="0" y="2096551"/>
                </a:lnTo>
                <a:lnTo>
                  <a:pt x="0" y="2093425"/>
                </a:lnTo>
                <a:lnTo>
                  <a:pt x="0" y="2022223"/>
                </a:lnTo>
                <a:lnTo>
                  <a:pt x="0" y="1958257"/>
                </a:lnTo>
                <a:lnTo>
                  <a:pt x="0" y="1812665"/>
                </a:lnTo>
                <a:lnTo>
                  <a:pt x="0" y="1738337"/>
                </a:lnTo>
                <a:lnTo>
                  <a:pt x="0" y="1677497"/>
                </a:lnTo>
                <a:lnTo>
                  <a:pt x="0" y="1674371"/>
                </a:lnTo>
                <a:lnTo>
                  <a:pt x="0" y="1633637"/>
                </a:lnTo>
                <a:lnTo>
                  <a:pt x="0" y="909400"/>
                </a:lnTo>
                <a:lnTo>
                  <a:pt x="4506471" y="20767"/>
                </a:lnTo>
                <a:cubicBezTo>
                  <a:pt x="4566900" y="10363"/>
                  <a:pt x="4623552" y="4081"/>
                  <a:pt x="4676664" y="1448"/>
                </a:cubicBezTo>
                <a:close/>
              </a:path>
            </a:pathLst>
          </a:custGeom>
          <a:noFill/>
          <a:ln w="19050">
            <a:solidFill>
              <a:schemeClr val="tx2"/>
            </a:solidFill>
          </a:ln>
        </p:spPr>
        <p:txBody>
          <a:bodyPr vert="horz" wrap="square" lIns="324000" tIns="1224000" rIns="324000" bIns="0" rtlCol="0">
            <a:noAutofit/>
          </a:bodyPr>
          <a:lstStyle>
            <a:lvl1pPr>
              <a:defRPr lang="de-DE" dirty="0"/>
            </a:lvl1pPr>
            <a:lvl2pPr>
              <a:defRPr lang="de-DE" dirty="0"/>
            </a:lvl2pPr>
            <a:lvl3pPr>
              <a:defRPr lang="de-DE" dirty="0"/>
            </a:lvl3pPr>
            <a:lvl4pPr>
              <a:defRPr lang="de-DE" dirty="0"/>
            </a:lvl4pPr>
            <a:lvl5pPr>
              <a:defRPr lang="de-DE" dirty="0"/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A78C2E2F-A8F0-4C21-BB59-3698B7B304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03DBE675-0839-4CF0-9FAC-D77590974244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9DD061C6-025A-4FB7-A4B9-D392582079F0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F73D1FAA-2A21-43F1-BE1D-D2DA9F39343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3267774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6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Bildplatzhalter 39">
            <a:extLst>
              <a:ext uri="{FF2B5EF4-FFF2-40B4-BE49-F238E27FC236}">
                <a16:creationId xmlns:a16="http://schemas.microsoft.com/office/drawing/2014/main" id="{B8CEE1E7-A4C8-4B76-ABEE-3D6D98FF6081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630002" y="0"/>
            <a:ext cx="11565175" cy="4222563"/>
          </a:xfrm>
          <a:custGeom>
            <a:avLst/>
            <a:gdLst>
              <a:gd name="connsiteX0" fmla="*/ 0 w 11565175"/>
              <a:gd name="connsiteY0" fmla="*/ 0 h 4222563"/>
              <a:gd name="connsiteX1" fmla="*/ 11565175 w 11565175"/>
              <a:gd name="connsiteY1" fmla="*/ 0 h 4222563"/>
              <a:gd name="connsiteX2" fmla="*/ 11565175 w 11565175"/>
              <a:gd name="connsiteY2" fmla="*/ 2101964 h 4222563"/>
              <a:gd name="connsiteX3" fmla="*/ 910254 w 11565175"/>
              <a:gd name="connsiteY3" fmla="*/ 4203013 h 4222563"/>
              <a:gd name="connsiteX4" fmla="*/ 0 w 11565175"/>
              <a:gd name="connsiteY4" fmla="*/ 3522749 h 42225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65175" h="4222563">
                <a:moveTo>
                  <a:pt x="0" y="0"/>
                </a:moveTo>
                <a:lnTo>
                  <a:pt x="11565175" y="0"/>
                </a:lnTo>
                <a:lnTo>
                  <a:pt x="11565175" y="2101964"/>
                </a:lnTo>
                <a:lnTo>
                  <a:pt x="910254" y="4203013"/>
                </a:lnTo>
                <a:cubicBezTo>
                  <a:pt x="0" y="4359736"/>
                  <a:pt x="0" y="3522749"/>
                  <a:pt x="0" y="3522749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2EAC7641-4AD3-4BC3-994B-F6617167D29D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149" y="2075688"/>
            <a:ext cx="9554060" cy="4782312"/>
          </a:xfrm>
          <a:custGeom>
            <a:avLst/>
            <a:gdLst>
              <a:gd name="connsiteX0" fmla="*/ 8804033 w 9554060"/>
              <a:gd name="connsiteY0" fmla="*/ 1364 h 4782312"/>
              <a:gd name="connsiteX1" fmla="*/ 9554060 w 9554060"/>
              <a:gd name="connsiteY1" fmla="*/ 699815 h 4782312"/>
              <a:gd name="connsiteX2" fmla="*/ 9554060 w 9554060"/>
              <a:gd name="connsiteY2" fmla="*/ 4782312 h 4782312"/>
              <a:gd name="connsiteX3" fmla="*/ 0 w 9554060"/>
              <a:gd name="connsiteY3" fmla="*/ 4782312 h 4782312"/>
              <a:gd name="connsiteX4" fmla="*/ 0 w 9554060"/>
              <a:gd name="connsiteY4" fmla="*/ 1724029 h 4782312"/>
              <a:gd name="connsiteX5" fmla="*/ 8643805 w 9554060"/>
              <a:gd name="connsiteY5" fmla="*/ 19551 h 4782312"/>
              <a:gd name="connsiteX6" fmla="*/ 8804033 w 9554060"/>
              <a:gd name="connsiteY6" fmla="*/ 1364 h 47823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9554060" h="4782312">
                <a:moveTo>
                  <a:pt x="8804033" y="1364"/>
                </a:moveTo>
                <a:cubicBezTo>
                  <a:pt x="9554060" y="-35818"/>
                  <a:pt x="9554060" y="699815"/>
                  <a:pt x="9554060" y="699815"/>
                </a:cubicBezTo>
                <a:lnTo>
                  <a:pt x="9554060" y="4782312"/>
                </a:lnTo>
                <a:lnTo>
                  <a:pt x="0" y="4782312"/>
                </a:lnTo>
                <a:lnTo>
                  <a:pt x="0" y="1724029"/>
                </a:lnTo>
                <a:lnTo>
                  <a:pt x="8643805" y="19551"/>
                </a:lnTo>
                <a:cubicBezTo>
                  <a:pt x="8700696" y="9756"/>
                  <a:pt x="8754031" y="3842"/>
                  <a:pt x="8804033" y="1364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630000" tIns="2127600" rIns="648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2-zeilig)</a:t>
            </a:r>
          </a:p>
        </p:txBody>
      </p:sp>
      <p:pic>
        <p:nvPicPr>
          <p:cNvPr id="17" name="Grafik 10">
            <a:extLst>
              <a:ext uri="{FF2B5EF4-FFF2-40B4-BE49-F238E27FC236}">
                <a16:creationId xmlns:a16="http://schemas.microsoft.com/office/drawing/2014/main" id="{412AF270-B816-43E1-8A6B-9C7CB5667741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875843" y="5986257"/>
            <a:ext cx="2016000" cy="608729"/>
          </a:xfrm>
          <a:prstGeom prst="rect">
            <a:avLst/>
          </a:prstGeom>
        </p:spPr>
      </p:pic>
      <p:sp>
        <p:nvSpPr>
          <p:cNvPr id="9" name="Textplatzhalter 2">
            <a:extLst>
              <a:ext uri="{FF2B5EF4-FFF2-40B4-BE49-F238E27FC236}">
                <a16:creationId xmlns:a16="http://schemas.microsoft.com/office/drawing/2014/main" id="{0252936D-CF3B-429A-803F-307FC170318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32AEB4EB-7B5D-4662-921E-F9C79FD76A24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30000" y="3781198"/>
            <a:ext cx="8280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4A2CC0C5-103F-4DC2-9434-B5F3E4480F2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30000" y="5302154"/>
            <a:ext cx="8280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F33DC02B-A91D-47BF-AF90-CB743C92FCD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30000" y="5659035"/>
            <a:ext cx="8280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1488214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Markenform link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4B780080-8437-46A0-B196-C15BAC2E73BE}"/>
              </a:ext>
            </a:extLst>
          </p:cNvPr>
          <p:cNvSpPr>
            <a:spLocks noGrp="1" noChangeAspect="1"/>
          </p:cNvSpPr>
          <p:nvPr>
            <p:ph type="body" sz="quarter" idx="28" hasCustomPrompt="1"/>
          </p:nvPr>
        </p:nvSpPr>
        <p:spPr bwMode="gray">
          <a:xfrm>
            <a:off x="1" y="1420964"/>
            <a:ext cx="6097587" cy="5437036"/>
          </a:xfrm>
          <a:custGeom>
            <a:avLst/>
            <a:gdLst>
              <a:gd name="connsiteX0" fmla="*/ 5440402 w 6097587"/>
              <a:gd name="connsiteY0" fmla="*/ 1174 h 5437036"/>
              <a:gd name="connsiteX1" fmla="*/ 6097587 w 6097587"/>
              <a:gd name="connsiteY1" fmla="*/ 603756 h 5437036"/>
              <a:gd name="connsiteX2" fmla="*/ 6097587 w 6097587"/>
              <a:gd name="connsiteY2" fmla="*/ 1200666 h 5437036"/>
              <a:gd name="connsiteX3" fmla="*/ 6097587 w 6097587"/>
              <a:gd name="connsiteY3" fmla="*/ 1255879 h 5437036"/>
              <a:gd name="connsiteX4" fmla="*/ 6097587 w 6097587"/>
              <a:gd name="connsiteY4" fmla="*/ 1277987 h 5437036"/>
              <a:gd name="connsiteX5" fmla="*/ 6097587 w 6097587"/>
              <a:gd name="connsiteY5" fmla="*/ 1305780 h 5437036"/>
              <a:gd name="connsiteX6" fmla="*/ 6097587 w 6097587"/>
              <a:gd name="connsiteY6" fmla="*/ 1308283 h 5437036"/>
              <a:gd name="connsiteX7" fmla="*/ 6097587 w 6097587"/>
              <a:gd name="connsiteY7" fmla="*/ 1358230 h 5437036"/>
              <a:gd name="connsiteX8" fmla="*/ 6097587 w 6097587"/>
              <a:gd name="connsiteY8" fmla="*/ 1422562 h 5437036"/>
              <a:gd name="connsiteX9" fmla="*/ 6097587 w 6097587"/>
              <a:gd name="connsiteY9" fmla="*/ 1432741 h 5437036"/>
              <a:gd name="connsiteX10" fmla="*/ 6097587 w 6097587"/>
              <a:gd name="connsiteY10" fmla="*/ 1536730 h 5437036"/>
              <a:gd name="connsiteX11" fmla="*/ 6097587 w 6097587"/>
              <a:gd name="connsiteY11" fmla="*/ 1551627 h 5437036"/>
              <a:gd name="connsiteX12" fmla="*/ 6097587 w 6097587"/>
              <a:gd name="connsiteY12" fmla="*/ 1601313 h 5437036"/>
              <a:gd name="connsiteX13" fmla="*/ 6097587 w 6097587"/>
              <a:gd name="connsiteY13" fmla="*/ 1675108 h 5437036"/>
              <a:gd name="connsiteX14" fmla="*/ 6097587 w 6097587"/>
              <a:gd name="connsiteY14" fmla="*/ 1693587 h 5437036"/>
              <a:gd name="connsiteX15" fmla="*/ 6097587 w 6097587"/>
              <a:gd name="connsiteY15" fmla="*/ 1758728 h 5437036"/>
              <a:gd name="connsiteX16" fmla="*/ 6097587 w 6097587"/>
              <a:gd name="connsiteY16" fmla="*/ 1849058 h 5437036"/>
              <a:gd name="connsiteX17" fmla="*/ 6097587 w 6097587"/>
              <a:gd name="connsiteY17" fmla="*/ 1852789 h 5437036"/>
              <a:gd name="connsiteX18" fmla="*/ 6097587 w 6097587"/>
              <a:gd name="connsiteY18" fmla="*/ 1957903 h 5437036"/>
              <a:gd name="connsiteX19" fmla="*/ 6097587 w 6097587"/>
              <a:gd name="connsiteY19" fmla="*/ 2018653 h 5437036"/>
              <a:gd name="connsiteX20" fmla="*/ 6097587 w 6097587"/>
              <a:gd name="connsiteY20" fmla="*/ 2074685 h 5437036"/>
              <a:gd name="connsiteX21" fmla="*/ 6097587 w 6097587"/>
              <a:gd name="connsiteY21" fmla="*/ 2202987 h 5437036"/>
              <a:gd name="connsiteX22" fmla="*/ 6097587 w 6097587"/>
              <a:gd name="connsiteY22" fmla="*/ 2203749 h 5437036"/>
              <a:gd name="connsiteX23" fmla="*/ 6097587 w 6097587"/>
              <a:gd name="connsiteY23" fmla="*/ 2345710 h 5437036"/>
              <a:gd name="connsiteX24" fmla="*/ 6097587 w 6097587"/>
              <a:gd name="connsiteY24" fmla="*/ 2402673 h 5437036"/>
              <a:gd name="connsiteX25" fmla="*/ 6097587 w 6097587"/>
              <a:gd name="connsiteY25" fmla="*/ 2501181 h 5437036"/>
              <a:gd name="connsiteX26" fmla="*/ 6097587 w 6097587"/>
              <a:gd name="connsiteY26" fmla="*/ 2618326 h 5437036"/>
              <a:gd name="connsiteX27" fmla="*/ 6097587 w 6097587"/>
              <a:gd name="connsiteY27" fmla="*/ 2670776 h 5437036"/>
              <a:gd name="connsiteX28" fmla="*/ 6097587 w 6097587"/>
              <a:gd name="connsiteY28" fmla="*/ 2850560 h 5437036"/>
              <a:gd name="connsiteX29" fmla="*/ 6097587 w 6097587"/>
              <a:gd name="connsiteY29" fmla="*/ 2855110 h 5437036"/>
              <a:gd name="connsiteX30" fmla="*/ 6097587 w 6097587"/>
              <a:gd name="connsiteY30" fmla="*/ 3054796 h 5437036"/>
              <a:gd name="connsiteX31" fmla="*/ 6097587 w 6097587"/>
              <a:gd name="connsiteY31" fmla="*/ 3099990 h 5437036"/>
              <a:gd name="connsiteX32" fmla="*/ 6097587 w 6097587"/>
              <a:gd name="connsiteY32" fmla="*/ 3270449 h 5437036"/>
              <a:gd name="connsiteX33" fmla="*/ 6097587 w 6097587"/>
              <a:gd name="connsiteY33" fmla="*/ 3367227 h 5437036"/>
              <a:gd name="connsiteX34" fmla="*/ 6097587 w 6097587"/>
              <a:gd name="connsiteY34" fmla="*/ 3502684 h 5437036"/>
              <a:gd name="connsiteX35" fmla="*/ 6097587 w 6097587"/>
              <a:gd name="connsiteY35" fmla="*/ 3652889 h 5437036"/>
              <a:gd name="connsiteX36" fmla="*/ 6097587 w 6097587"/>
              <a:gd name="connsiteY36" fmla="*/ 3752112 h 5437036"/>
              <a:gd name="connsiteX37" fmla="*/ 6097587 w 6097587"/>
              <a:gd name="connsiteY37" fmla="*/ 3957586 h 5437036"/>
              <a:gd name="connsiteX38" fmla="*/ 6097587 w 6097587"/>
              <a:gd name="connsiteY38" fmla="*/ 4019350 h 5437036"/>
              <a:gd name="connsiteX39" fmla="*/ 6097587 w 6097587"/>
              <a:gd name="connsiteY39" fmla="*/ 4262137 h 5437036"/>
              <a:gd name="connsiteX40" fmla="*/ 6097587 w 6097587"/>
              <a:gd name="connsiteY40" fmla="*/ 4292733 h 5437036"/>
              <a:gd name="connsiteX41" fmla="*/ 6097587 w 6097587"/>
              <a:gd name="connsiteY41" fmla="*/ 4305011 h 5437036"/>
              <a:gd name="connsiteX42" fmla="*/ 6097587 w 6097587"/>
              <a:gd name="connsiteY42" fmla="*/ 4362984 h 5437036"/>
              <a:gd name="connsiteX43" fmla="*/ 6097587 w 6097587"/>
              <a:gd name="connsiteY43" fmla="*/ 4367675 h 5437036"/>
              <a:gd name="connsiteX44" fmla="*/ 6097587 w 6097587"/>
              <a:gd name="connsiteY44" fmla="*/ 4378813 h 5437036"/>
              <a:gd name="connsiteX45" fmla="*/ 6097587 w 6097587"/>
              <a:gd name="connsiteY45" fmla="*/ 4400506 h 5437036"/>
              <a:gd name="connsiteX46" fmla="*/ 6097587 w 6097587"/>
              <a:gd name="connsiteY46" fmla="*/ 4436268 h 5437036"/>
              <a:gd name="connsiteX47" fmla="*/ 6097587 w 6097587"/>
              <a:gd name="connsiteY47" fmla="*/ 4489620 h 5437036"/>
              <a:gd name="connsiteX48" fmla="*/ 6097587 w 6097587"/>
              <a:gd name="connsiteY48" fmla="*/ 4564076 h 5437036"/>
              <a:gd name="connsiteX49" fmla="*/ 6097587 w 6097587"/>
              <a:gd name="connsiteY49" fmla="*/ 4609710 h 5437036"/>
              <a:gd name="connsiteX50" fmla="*/ 6097587 w 6097587"/>
              <a:gd name="connsiteY50" fmla="*/ 4663157 h 5437036"/>
              <a:gd name="connsiteX51" fmla="*/ 6097587 w 6097587"/>
              <a:gd name="connsiteY51" fmla="*/ 4674064 h 5437036"/>
              <a:gd name="connsiteX52" fmla="*/ 6097587 w 6097587"/>
              <a:gd name="connsiteY52" fmla="*/ 4737893 h 5437036"/>
              <a:gd name="connsiteX53" fmla="*/ 6097587 w 6097587"/>
              <a:gd name="connsiteY53" fmla="*/ 4871773 h 5437036"/>
              <a:gd name="connsiteX54" fmla="*/ 6097587 w 6097587"/>
              <a:gd name="connsiteY54" fmla="*/ 4914259 h 5437036"/>
              <a:gd name="connsiteX55" fmla="*/ 6097587 w 6097587"/>
              <a:gd name="connsiteY55" fmla="*/ 4944856 h 5437036"/>
              <a:gd name="connsiteX56" fmla="*/ 6097587 w 6097587"/>
              <a:gd name="connsiteY56" fmla="*/ 4949260 h 5437036"/>
              <a:gd name="connsiteX57" fmla="*/ 6097587 w 6097587"/>
              <a:gd name="connsiteY57" fmla="*/ 5015108 h 5437036"/>
              <a:gd name="connsiteX58" fmla="*/ 6097587 w 6097587"/>
              <a:gd name="connsiteY58" fmla="*/ 5019797 h 5437036"/>
              <a:gd name="connsiteX59" fmla="*/ 6097587 w 6097587"/>
              <a:gd name="connsiteY59" fmla="*/ 5030937 h 5437036"/>
              <a:gd name="connsiteX60" fmla="*/ 6097587 w 6097587"/>
              <a:gd name="connsiteY60" fmla="*/ 5034241 h 5437036"/>
              <a:gd name="connsiteX61" fmla="*/ 6097587 w 6097587"/>
              <a:gd name="connsiteY61" fmla="*/ 5052628 h 5437036"/>
              <a:gd name="connsiteX62" fmla="*/ 6097587 w 6097587"/>
              <a:gd name="connsiteY62" fmla="*/ 5080807 h 5437036"/>
              <a:gd name="connsiteX63" fmla="*/ 6097587 w 6097587"/>
              <a:gd name="connsiteY63" fmla="*/ 5088391 h 5437036"/>
              <a:gd name="connsiteX64" fmla="*/ 6097587 w 6097587"/>
              <a:gd name="connsiteY64" fmla="*/ 5141742 h 5437036"/>
              <a:gd name="connsiteX65" fmla="*/ 6097587 w 6097587"/>
              <a:gd name="connsiteY65" fmla="*/ 5159803 h 5437036"/>
              <a:gd name="connsiteX66" fmla="*/ 6097587 w 6097587"/>
              <a:gd name="connsiteY66" fmla="*/ 5216199 h 5437036"/>
              <a:gd name="connsiteX67" fmla="*/ 6097587 w 6097587"/>
              <a:gd name="connsiteY67" fmla="*/ 5315280 h 5437036"/>
              <a:gd name="connsiteX68" fmla="*/ 6097587 w 6097587"/>
              <a:gd name="connsiteY68" fmla="*/ 5326186 h 5437036"/>
              <a:gd name="connsiteX69" fmla="*/ 6097587 w 6097587"/>
              <a:gd name="connsiteY69" fmla="*/ 5347127 h 5437036"/>
              <a:gd name="connsiteX70" fmla="*/ 6097587 w 6097587"/>
              <a:gd name="connsiteY70" fmla="*/ 5390016 h 5437036"/>
              <a:gd name="connsiteX71" fmla="*/ 6097587 w 6097587"/>
              <a:gd name="connsiteY71" fmla="*/ 5437036 h 5437036"/>
              <a:gd name="connsiteX72" fmla="*/ 0 w 6097587"/>
              <a:gd name="connsiteY72" fmla="*/ 5437036 h 5437036"/>
              <a:gd name="connsiteX73" fmla="*/ 0 w 6097587"/>
              <a:gd name="connsiteY73" fmla="*/ 1568122 h 5437036"/>
              <a:gd name="connsiteX74" fmla="*/ 0 w 6097587"/>
              <a:gd name="connsiteY74" fmla="*/ 915999 h 5437036"/>
              <a:gd name="connsiteX75" fmla="*/ 175716 w 6097587"/>
              <a:gd name="connsiteY75" fmla="*/ 886189 h 5437036"/>
              <a:gd name="connsiteX76" fmla="*/ 5300008 w 6097587"/>
              <a:gd name="connsiteY76" fmla="*/ 16855 h 5437036"/>
              <a:gd name="connsiteX77" fmla="*/ 5440402 w 6097587"/>
              <a:gd name="connsiteY77" fmla="*/ 1174 h 543703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</a:cxnLst>
            <a:rect l="l" t="t" r="r" b="b"/>
            <a:pathLst>
              <a:path w="6097587" h="5437036">
                <a:moveTo>
                  <a:pt x="5440402" y="1174"/>
                </a:moveTo>
                <a:cubicBezTo>
                  <a:pt x="6097587" y="-30859"/>
                  <a:pt x="6097587" y="603756"/>
                  <a:pt x="6097587" y="603756"/>
                </a:cubicBezTo>
                <a:cubicBezTo>
                  <a:pt x="6097587" y="603756"/>
                  <a:pt x="6097587" y="603756"/>
                  <a:pt x="6097587" y="1200666"/>
                </a:cubicBezTo>
                <a:lnTo>
                  <a:pt x="6097587" y="1255879"/>
                </a:lnTo>
                <a:cubicBezTo>
                  <a:pt x="6097587" y="1255879"/>
                  <a:pt x="6097587" y="1255879"/>
                  <a:pt x="6097587" y="1277987"/>
                </a:cubicBezTo>
                <a:lnTo>
                  <a:pt x="6097587" y="1305780"/>
                </a:lnTo>
                <a:lnTo>
                  <a:pt x="6097587" y="1308283"/>
                </a:lnTo>
                <a:cubicBezTo>
                  <a:pt x="6097587" y="1321384"/>
                  <a:pt x="6097587" y="1337760"/>
                  <a:pt x="6097587" y="1358230"/>
                </a:cubicBezTo>
                <a:lnTo>
                  <a:pt x="6097587" y="1422562"/>
                </a:lnTo>
                <a:lnTo>
                  <a:pt x="6097587" y="1432741"/>
                </a:lnTo>
                <a:cubicBezTo>
                  <a:pt x="6097587" y="1462218"/>
                  <a:pt x="6097587" y="1496608"/>
                  <a:pt x="6097587" y="1536730"/>
                </a:cubicBezTo>
                <a:lnTo>
                  <a:pt x="6097587" y="1551627"/>
                </a:lnTo>
                <a:lnTo>
                  <a:pt x="6097587" y="1601313"/>
                </a:lnTo>
                <a:cubicBezTo>
                  <a:pt x="6097587" y="1624342"/>
                  <a:pt x="6097587" y="1648906"/>
                  <a:pt x="6097587" y="1675108"/>
                </a:cubicBezTo>
                <a:lnTo>
                  <a:pt x="6097587" y="1693587"/>
                </a:lnTo>
                <a:lnTo>
                  <a:pt x="6097587" y="1758728"/>
                </a:lnTo>
                <a:lnTo>
                  <a:pt x="6097587" y="1849058"/>
                </a:lnTo>
                <a:lnTo>
                  <a:pt x="6097587" y="1852789"/>
                </a:lnTo>
                <a:cubicBezTo>
                  <a:pt x="6097587" y="1885950"/>
                  <a:pt x="6097587" y="1920954"/>
                  <a:pt x="6097587" y="1957903"/>
                </a:cubicBezTo>
                <a:lnTo>
                  <a:pt x="6097587" y="2018653"/>
                </a:lnTo>
                <a:lnTo>
                  <a:pt x="6097587" y="2074685"/>
                </a:lnTo>
                <a:lnTo>
                  <a:pt x="6097587" y="2202987"/>
                </a:lnTo>
                <a:lnTo>
                  <a:pt x="6097587" y="2203749"/>
                </a:lnTo>
                <a:cubicBezTo>
                  <a:pt x="6097587" y="2248886"/>
                  <a:pt x="6097587" y="2296172"/>
                  <a:pt x="6097587" y="2345710"/>
                </a:cubicBezTo>
                <a:lnTo>
                  <a:pt x="6097587" y="2402673"/>
                </a:lnTo>
                <a:lnTo>
                  <a:pt x="6097587" y="2501181"/>
                </a:lnTo>
                <a:lnTo>
                  <a:pt x="6097587" y="2618326"/>
                </a:lnTo>
                <a:lnTo>
                  <a:pt x="6097587" y="2670776"/>
                </a:lnTo>
                <a:lnTo>
                  <a:pt x="6097587" y="2850560"/>
                </a:lnTo>
                <a:lnTo>
                  <a:pt x="6097587" y="2855110"/>
                </a:lnTo>
                <a:cubicBezTo>
                  <a:pt x="6097587" y="2919079"/>
                  <a:pt x="6097587" y="2985607"/>
                  <a:pt x="6097587" y="3054796"/>
                </a:cubicBezTo>
                <a:lnTo>
                  <a:pt x="6097587" y="3099990"/>
                </a:lnTo>
                <a:lnTo>
                  <a:pt x="6097587" y="3270449"/>
                </a:lnTo>
                <a:lnTo>
                  <a:pt x="6097587" y="3367227"/>
                </a:lnTo>
                <a:lnTo>
                  <a:pt x="6097587" y="3502684"/>
                </a:lnTo>
                <a:lnTo>
                  <a:pt x="6097587" y="3652889"/>
                </a:lnTo>
                <a:lnTo>
                  <a:pt x="6097587" y="3752112"/>
                </a:lnTo>
                <a:lnTo>
                  <a:pt x="6097587" y="3957586"/>
                </a:lnTo>
                <a:lnTo>
                  <a:pt x="6097587" y="4019350"/>
                </a:lnTo>
                <a:lnTo>
                  <a:pt x="6097587" y="4262137"/>
                </a:lnTo>
                <a:lnTo>
                  <a:pt x="6097587" y="4292733"/>
                </a:lnTo>
                <a:lnTo>
                  <a:pt x="6097587" y="4305011"/>
                </a:lnTo>
                <a:lnTo>
                  <a:pt x="6097587" y="4362984"/>
                </a:lnTo>
                <a:lnTo>
                  <a:pt x="6097587" y="4367675"/>
                </a:lnTo>
                <a:lnTo>
                  <a:pt x="6097587" y="4378813"/>
                </a:lnTo>
                <a:lnTo>
                  <a:pt x="6097587" y="4400506"/>
                </a:lnTo>
                <a:lnTo>
                  <a:pt x="6097587" y="4436268"/>
                </a:lnTo>
                <a:lnTo>
                  <a:pt x="6097587" y="4489620"/>
                </a:lnTo>
                <a:lnTo>
                  <a:pt x="6097587" y="4564076"/>
                </a:lnTo>
                <a:lnTo>
                  <a:pt x="6097587" y="4609710"/>
                </a:lnTo>
                <a:lnTo>
                  <a:pt x="6097587" y="4663157"/>
                </a:lnTo>
                <a:lnTo>
                  <a:pt x="6097587" y="4674064"/>
                </a:lnTo>
                <a:lnTo>
                  <a:pt x="6097587" y="4737893"/>
                </a:lnTo>
                <a:lnTo>
                  <a:pt x="6097587" y="4871773"/>
                </a:lnTo>
                <a:lnTo>
                  <a:pt x="6097587" y="4914259"/>
                </a:lnTo>
                <a:lnTo>
                  <a:pt x="6097587" y="4944856"/>
                </a:lnTo>
                <a:lnTo>
                  <a:pt x="6097587" y="4949260"/>
                </a:lnTo>
                <a:lnTo>
                  <a:pt x="6097587" y="5015108"/>
                </a:lnTo>
                <a:lnTo>
                  <a:pt x="6097587" y="5019797"/>
                </a:lnTo>
                <a:lnTo>
                  <a:pt x="6097587" y="5030937"/>
                </a:lnTo>
                <a:lnTo>
                  <a:pt x="6097587" y="5034241"/>
                </a:lnTo>
                <a:lnTo>
                  <a:pt x="6097587" y="5052628"/>
                </a:lnTo>
                <a:lnTo>
                  <a:pt x="6097587" y="5080807"/>
                </a:lnTo>
                <a:lnTo>
                  <a:pt x="6097587" y="5088391"/>
                </a:lnTo>
                <a:lnTo>
                  <a:pt x="6097587" y="5141742"/>
                </a:lnTo>
                <a:lnTo>
                  <a:pt x="6097587" y="5159803"/>
                </a:lnTo>
                <a:lnTo>
                  <a:pt x="6097587" y="5216199"/>
                </a:lnTo>
                <a:lnTo>
                  <a:pt x="6097587" y="5315280"/>
                </a:lnTo>
                <a:lnTo>
                  <a:pt x="6097587" y="5326186"/>
                </a:lnTo>
                <a:lnTo>
                  <a:pt x="6097587" y="5347127"/>
                </a:lnTo>
                <a:lnTo>
                  <a:pt x="6097587" y="5390016"/>
                </a:lnTo>
                <a:lnTo>
                  <a:pt x="6097587" y="5437036"/>
                </a:lnTo>
                <a:lnTo>
                  <a:pt x="0" y="5437036"/>
                </a:lnTo>
                <a:lnTo>
                  <a:pt x="0" y="1568122"/>
                </a:lnTo>
                <a:lnTo>
                  <a:pt x="0" y="915999"/>
                </a:lnTo>
                <a:lnTo>
                  <a:pt x="175716" y="886189"/>
                </a:lnTo>
                <a:cubicBezTo>
                  <a:pt x="1513763" y="659190"/>
                  <a:pt x="3192880" y="374328"/>
                  <a:pt x="5300008" y="16855"/>
                </a:cubicBezTo>
                <a:cubicBezTo>
                  <a:pt x="5349857" y="8408"/>
                  <a:pt x="5396590" y="3310"/>
                  <a:pt x="5440402" y="1174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410400" tIns="1224000" rIns="396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6313610" y="1412776"/>
            <a:ext cx="5471940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13610" y="6001543"/>
            <a:ext cx="5471940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9B79889-2E07-47F2-A0C4-DC80A37FDBD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ECD1828B-5300-418C-A147-023E190B0660}"/>
              </a:ext>
            </a:extLst>
          </p:cNvPr>
          <p:cNvSpPr>
            <a:spLocks noGrp="1"/>
          </p:cNvSpPr>
          <p:nvPr>
            <p:ph type="dt" sz="half" idx="29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FCF4070D-3CE1-4E9F-9080-3DB95E789FEB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04C38013-45C9-48D9-971F-F1A5581A4B0E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0881525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6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Markenform link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6313611" y="1412776"/>
            <a:ext cx="5472000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13611" y="6001543"/>
            <a:ext cx="5472000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3" name="Textplatzhalter 12">
            <a:extLst>
              <a:ext uri="{FF2B5EF4-FFF2-40B4-BE49-F238E27FC236}">
                <a16:creationId xmlns:a16="http://schemas.microsoft.com/office/drawing/2014/main" id="{2717C83D-431F-4C94-BEAC-38C5298EC06C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408955" y="1412776"/>
            <a:ext cx="5472000" cy="4896000"/>
          </a:xfrm>
          <a:custGeom>
            <a:avLst/>
            <a:gdLst>
              <a:gd name="connsiteX0" fmla="*/ 4676664 w 5473336"/>
              <a:gd name="connsiteY0" fmla="*/ 1448 h 4883744"/>
              <a:gd name="connsiteX1" fmla="*/ 5473336 w 5473336"/>
              <a:gd name="connsiteY1" fmla="*/ 743338 h 4883744"/>
              <a:gd name="connsiteX2" fmla="*/ 5473336 w 5473336"/>
              <a:gd name="connsiteY2" fmla="*/ 1633637 h 4883744"/>
              <a:gd name="connsiteX3" fmla="*/ 5473336 w 5473336"/>
              <a:gd name="connsiteY3" fmla="*/ 1674371 h 4883744"/>
              <a:gd name="connsiteX4" fmla="*/ 5473336 w 5473336"/>
              <a:gd name="connsiteY4" fmla="*/ 1677497 h 4883744"/>
              <a:gd name="connsiteX5" fmla="*/ 5473336 w 5473336"/>
              <a:gd name="connsiteY5" fmla="*/ 1812665 h 4883744"/>
              <a:gd name="connsiteX6" fmla="*/ 5473336 w 5473336"/>
              <a:gd name="connsiteY6" fmla="*/ 1856161 h 4883744"/>
              <a:gd name="connsiteX7" fmla="*/ 5473336 w 5473336"/>
              <a:gd name="connsiteY7" fmla="*/ 1958257 h 4883744"/>
              <a:gd name="connsiteX8" fmla="*/ 5473336 w 5473336"/>
              <a:gd name="connsiteY8" fmla="*/ 2093425 h 4883744"/>
              <a:gd name="connsiteX9" fmla="*/ 5473336 w 5473336"/>
              <a:gd name="connsiteY9" fmla="*/ 2096551 h 4883744"/>
              <a:gd name="connsiteX10" fmla="*/ 5473336 w 5473336"/>
              <a:gd name="connsiteY10" fmla="*/ 2377311 h 4883744"/>
              <a:gd name="connsiteX11" fmla="*/ 5473336 w 5473336"/>
              <a:gd name="connsiteY11" fmla="*/ 2506434 h 4883744"/>
              <a:gd name="connsiteX12" fmla="*/ 5473336 w 5473336"/>
              <a:gd name="connsiteY12" fmla="*/ 2787194 h 4883744"/>
              <a:gd name="connsiteX13" fmla="*/ 5473336 w 5473336"/>
              <a:gd name="connsiteY13" fmla="*/ 2790320 h 4883744"/>
              <a:gd name="connsiteX14" fmla="*/ 5473336 w 5473336"/>
              <a:gd name="connsiteY14" fmla="*/ 2861522 h 4883744"/>
              <a:gd name="connsiteX15" fmla="*/ 5473336 w 5473336"/>
              <a:gd name="connsiteY15" fmla="*/ 2925488 h 4883744"/>
              <a:gd name="connsiteX16" fmla="*/ 5473336 w 5473336"/>
              <a:gd name="connsiteY16" fmla="*/ 3071080 h 4883744"/>
              <a:gd name="connsiteX17" fmla="*/ 5473336 w 5473336"/>
              <a:gd name="connsiteY17" fmla="*/ 3078035 h 4883744"/>
              <a:gd name="connsiteX18" fmla="*/ 5473336 w 5473336"/>
              <a:gd name="connsiteY18" fmla="*/ 3206248 h 4883744"/>
              <a:gd name="connsiteX19" fmla="*/ 5473336 w 5473336"/>
              <a:gd name="connsiteY19" fmla="*/ 3974345 h 4883744"/>
              <a:gd name="connsiteX20" fmla="*/ 966865 w 5473336"/>
              <a:gd name="connsiteY20" fmla="*/ 4862978 h 4883744"/>
              <a:gd name="connsiteX21" fmla="*/ 0 w 5473336"/>
              <a:gd name="connsiteY21" fmla="*/ 4140407 h 4883744"/>
              <a:gd name="connsiteX22" fmla="*/ 0 w 5473336"/>
              <a:gd name="connsiteY22" fmla="*/ 3206248 h 4883744"/>
              <a:gd name="connsiteX23" fmla="*/ 0 w 5473336"/>
              <a:gd name="connsiteY23" fmla="*/ 3078035 h 4883744"/>
              <a:gd name="connsiteX24" fmla="*/ 0 w 5473336"/>
              <a:gd name="connsiteY24" fmla="*/ 3071080 h 4883744"/>
              <a:gd name="connsiteX25" fmla="*/ 0 w 5473336"/>
              <a:gd name="connsiteY25" fmla="*/ 3027584 h 4883744"/>
              <a:gd name="connsiteX26" fmla="*/ 0 w 5473336"/>
              <a:gd name="connsiteY26" fmla="*/ 2925488 h 4883744"/>
              <a:gd name="connsiteX27" fmla="*/ 0 w 5473336"/>
              <a:gd name="connsiteY27" fmla="*/ 2790320 h 4883744"/>
              <a:gd name="connsiteX28" fmla="*/ 0 w 5473336"/>
              <a:gd name="connsiteY28" fmla="*/ 2787194 h 4883744"/>
              <a:gd name="connsiteX29" fmla="*/ 0 w 5473336"/>
              <a:gd name="connsiteY29" fmla="*/ 2506434 h 4883744"/>
              <a:gd name="connsiteX30" fmla="*/ 0 w 5473336"/>
              <a:gd name="connsiteY30" fmla="*/ 2377311 h 4883744"/>
              <a:gd name="connsiteX31" fmla="*/ 0 w 5473336"/>
              <a:gd name="connsiteY31" fmla="*/ 2096551 h 4883744"/>
              <a:gd name="connsiteX32" fmla="*/ 0 w 5473336"/>
              <a:gd name="connsiteY32" fmla="*/ 2093425 h 4883744"/>
              <a:gd name="connsiteX33" fmla="*/ 0 w 5473336"/>
              <a:gd name="connsiteY33" fmla="*/ 2022223 h 4883744"/>
              <a:gd name="connsiteX34" fmla="*/ 0 w 5473336"/>
              <a:gd name="connsiteY34" fmla="*/ 1958257 h 4883744"/>
              <a:gd name="connsiteX35" fmla="*/ 0 w 5473336"/>
              <a:gd name="connsiteY35" fmla="*/ 1812665 h 4883744"/>
              <a:gd name="connsiteX36" fmla="*/ 0 w 5473336"/>
              <a:gd name="connsiteY36" fmla="*/ 1738337 h 4883744"/>
              <a:gd name="connsiteX37" fmla="*/ 0 w 5473336"/>
              <a:gd name="connsiteY37" fmla="*/ 1677497 h 4883744"/>
              <a:gd name="connsiteX38" fmla="*/ 0 w 5473336"/>
              <a:gd name="connsiteY38" fmla="*/ 1674371 h 4883744"/>
              <a:gd name="connsiteX39" fmla="*/ 0 w 5473336"/>
              <a:gd name="connsiteY39" fmla="*/ 1633637 h 4883744"/>
              <a:gd name="connsiteX40" fmla="*/ 0 w 5473336"/>
              <a:gd name="connsiteY40" fmla="*/ 909400 h 4883744"/>
              <a:gd name="connsiteX41" fmla="*/ 4506471 w 5473336"/>
              <a:gd name="connsiteY41" fmla="*/ 20767 h 4883744"/>
              <a:gd name="connsiteX42" fmla="*/ 4676664 w 5473336"/>
              <a:gd name="connsiteY42" fmla="*/ 1448 h 488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473336" h="4883744">
                <a:moveTo>
                  <a:pt x="4676664" y="1448"/>
                </a:moveTo>
                <a:cubicBezTo>
                  <a:pt x="5473336" y="-38046"/>
                  <a:pt x="5473336" y="743338"/>
                  <a:pt x="5473336" y="743338"/>
                </a:cubicBezTo>
                <a:lnTo>
                  <a:pt x="5473336" y="1633637"/>
                </a:lnTo>
                <a:lnTo>
                  <a:pt x="5473336" y="1674371"/>
                </a:lnTo>
                <a:lnTo>
                  <a:pt x="5473336" y="1677497"/>
                </a:lnTo>
                <a:lnTo>
                  <a:pt x="5473336" y="1812665"/>
                </a:lnTo>
                <a:lnTo>
                  <a:pt x="5473336" y="1856161"/>
                </a:lnTo>
                <a:lnTo>
                  <a:pt x="5473336" y="1958257"/>
                </a:lnTo>
                <a:lnTo>
                  <a:pt x="5473336" y="2093425"/>
                </a:lnTo>
                <a:lnTo>
                  <a:pt x="5473336" y="2096551"/>
                </a:lnTo>
                <a:lnTo>
                  <a:pt x="5473336" y="2377311"/>
                </a:lnTo>
                <a:lnTo>
                  <a:pt x="5473336" y="2506434"/>
                </a:lnTo>
                <a:lnTo>
                  <a:pt x="5473336" y="2787194"/>
                </a:lnTo>
                <a:lnTo>
                  <a:pt x="5473336" y="2790320"/>
                </a:lnTo>
                <a:lnTo>
                  <a:pt x="5473336" y="2861522"/>
                </a:lnTo>
                <a:lnTo>
                  <a:pt x="5473336" y="2925488"/>
                </a:lnTo>
                <a:lnTo>
                  <a:pt x="5473336" y="3071080"/>
                </a:lnTo>
                <a:lnTo>
                  <a:pt x="5473336" y="3078035"/>
                </a:lnTo>
                <a:lnTo>
                  <a:pt x="5473336" y="3206248"/>
                </a:lnTo>
                <a:lnTo>
                  <a:pt x="5473336" y="3974345"/>
                </a:lnTo>
                <a:lnTo>
                  <a:pt x="966865" y="4862978"/>
                </a:lnTo>
                <a:cubicBezTo>
                  <a:pt x="0" y="5029448"/>
                  <a:pt x="0" y="4140407"/>
                  <a:pt x="0" y="4140407"/>
                </a:cubicBezTo>
                <a:lnTo>
                  <a:pt x="0" y="3206248"/>
                </a:lnTo>
                <a:lnTo>
                  <a:pt x="0" y="3078035"/>
                </a:lnTo>
                <a:lnTo>
                  <a:pt x="0" y="3071080"/>
                </a:lnTo>
                <a:lnTo>
                  <a:pt x="0" y="3027584"/>
                </a:lnTo>
                <a:lnTo>
                  <a:pt x="0" y="2925488"/>
                </a:lnTo>
                <a:lnTo>
                  <a:pt x="0" y="2790320"/>
                </a:lnTo>
                <a:lnTo>
                  <a:pt x="0" y="2787194"/>
                </a:lnTo>
                <a:lnTo>
                  <a:pt x="0" y="2506434"/>
                </a:lnTo>
                <a:lnTo>
                  <a:pt x="0" y="2377311"/>
                </a:lnTo>
                <a:lnTo>
                  <a:pt x="0" y="2096551"/>
                </a:lnTo>
                <a:lnTo>
                  <a:pt x="0" y="2093425"/>
                </a:lnTo>
                <a:lnTo>
                  <a:pt x="0" y="2022223"/>
                </a:lnTo>
                <a:lnTo>
                  <a:pt x="0" y="1958257"/>
                </a:lnTo>
                <a:lnTo>
                  <a:pt x="0" y="1812665"/>
                </a:lnTo>
                <a:lnTo>
                  <a:pt x="0" y="1738337"/>
                </a:lnTo>
                <a:lnTo>
                  <a:pt x="0" y="1677497"/>
                </a:lnTo>
                <a:lnTo>
                  <a:pt x="0" y="1674371"/>
                </a:lnTo>
                <a:lnTo>
                  <a:pt x="0" y="1633637"/>
                </a:lnTo>
                <a:lnTo>
                  <a:pt x="0" y="909400"/>
                </a:lnTo>
                <a:lnTo>
                  <a:pt x="4506471" y="20767"/>
                </a:lnTo>
                <a:cubicBezTo>
                  <a:pt x="4566900" y="10363"/>
                  <a:pt x="4623552" y="4081"/>
                  <a:pt x="4676664" y="1448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324000" tIns="1216800" rIns="324000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E7FDA46B-AC42-497F-9DFD-87CDC7AAD0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2" name="Datumsplatzhalter 1">
            <a:extLst>
              <a:ext uri="{FF2B5EF4-FFF2-40B4-BE49-F238E27FC236}">
                <a16:creationId xmlns:a16="http://schemas.microsoft.com/office/drawing/2014/main" id="{A22F1C15-782E-4B2C-A2E9-361CB8446BEA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3" name="Fußzeilenplatzhalter 2">
            <a:extLst>
              <a:ext uri="{FF2B5EF4-FFF2-40B4-BE49-F238E27FC236}">
                <a16:creationId xmlns:a16="http://schemas.microsoft.com/office/drawing/2014/main" id="{AD984C28-5572-4147-9BEB-25DCFB06761F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7" name="Foliennummernplatzhalter 6">
            <a:extLst>
              <a:ext uri="{FF2B5EF4-FFF2-40B4-BE49-F238E27FC236}">
                <a16:creationId xmlns:a16="http://schemas.microsoft.com/office/drawing/2014/main" id="{1C6F92A8-FAD4-42FF-ADAD-6DAC89E1A1C9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572404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Zweispaltig mit Markenform links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Inhaltsplatzhalter 2"/>
          <p:cNvSpPr>
            <a:spLocks noGrp="1"/>
          </p:cNvSpPr>
          <p:nvPr>
            <p:ph sz="quarter" idx="24" hasCustomPrompt="1"/>
          </p:nvPr>
        </p:nvSpPr>
        <p:spPr bwMode="gray">
          <a:xfrm>
            <a:off x="6313610" y="1412776"/>
            <a:ext cx="5471989" cy="4896445"/>
          </a:xfrm>
          <a:noFill/>
        </p:spPr>
        <p:txBody>
          <a:bodyPr/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15" name="Textplatzhalter 3"/>
          <p:cNvSpPr>
            <a:spLocks noGrp="1"/>
          </p:cNvSpPr>
          <p:nvPr>
            <p:ph type="body" sz="quarter" idx="23" hasCustomPrompt="1"/>
          </p:nvPr>
        </p:nvSpPr>
        <p:spPr bwMode="gray">
          <a:xfrm>
            <a:off x="6313610" y="6001543"/>
            <a:ext cx="5471989" cy="307777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spcBef>
                <a:spcPts val="0"/>
              </a:spcBef>
              <a:buNone/>
              <a:defRPr sz="1000" b="0">
                <a:solidFill>
                  <a:schemeClr val="tx1"/>
                </a:solidFill>
              </a:defRPr>
            </a:lvl1pPr>
            <a:lvl2pPr>
              <a:defRPr sz="1000"/>
            </a:lvl2pPr>
            <a:lvl3pPr>
              <a:defRPr sz="1000"/>
            </a:lvl3pPr>
            <a:lvl4pPr>
              <a:defRPr sz="1000"/>
            </a:lvl4pPr>
            <a:lvl5pPr>
              <a:defRPr sz="1000"/>
            </a:lvl5pPr>
          </a:lstStyle>
          <a:p>
            <a:pPr lvl="0"/>
            <a:r>
              <a:rPr lang="de-DE" dirty="0"/>
              <a:t>Quelle: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AA5E6719-7D45-4CEE-B7F8-0F96AB357F5D}"/>
              </a:ext>
            </a:extLst>
          </p:cNvPr>
          <p:cNvSpPr>
            <a:spLocks noGrp="1" noChangeAspect="1"/>
          </p:cNvSpPr>
          <p:nvPr>
            <p:ph type="body" sz="quarter" idx="30" hasCustomPrompt="1"/>
          </p:nvPr>
        </p:nvSpPr>
        <p:spPr bwMode="gray">
          <a:xfrm>
            <a:off x="408955" y="1412776"/>
            <a:ext cx="5473594" cy="4896000"/>
          </a:xfrm>
          <a:custGeom>
            <a:avLst/>
            <a:gdLst>
              <a:gd name="connsiteX0" fmla="*/ 4676664 w 5473336"/>
              <a:gd name="connsiteY0" fmla="*/ 1448 h 4883744"/>
              <a:gd name="connsiteX1" fmla="*/ 5473336 w 5473336"/>
              <a:gd name="connsiteY1" fmla="*/ 743338 h 4883744"/>
              <a:gd name="connsiteX2" fmla="*/ 5473336 w 5473336"/>
              <a:gd name="connsiteY2" fmla="*/ 1633637 h 4883744"/>
              <a:gd name="connsiteX3" fmla="*/ 5473336 w 5473336"/>
              <a:gd name="connsiteY3" fmla="*/ 1674371 h 4883744"/>
              <a:gd name="connsiteX4" fmla="*/ 5473336 w 5473336"/>
              <a:gd name="connsiteY4" fmla="*/ 1677497 h 4883744"/>
              <a:gd name="connsiteX5" fmla="*/ 5473336 w 5473336"/>
              <a:gd name="connsiteY5" fmla="*/ 1812665 h 4883744"/>
              <a:gd name="connsiteX6" fmla="*/ 5473336 w 5473336"/>
              <a:gd name="connsiteY6" fmla="*/ 1856161 h 4883744"/>
              <a:gd name="connsiteX7" fmla="*/ 5473336 w 5473336"/>
              <a:gd name="connsiteY7" fmla="*/ 1958257 h 4883744"/>
              <a:gd name="connsiteX8" fmla="*/ 5473336 w 5473336"/>
              <a:gd name="connsiteY8" fmla="*/ 2093425 h 4883744"/>
              <a:gd name="connsiteX9" fmla="*/ 5473336 w 5473336"/>
              <a:gd name="connsiteY9" fmla="*/ 2096551 h 4883744"/>
              <a:gd name="connsiteX10" fmla="*/ 5473336 w 5473336"/>
              <a:gd name="connsiteY10" fmla="*/ 2377311 h 4883744"/>
              <a:gd name="connsiteX11" fmla="*/ 5473336 w 5473336"/>
              <a:gd name="connsiteY11" fmla="*/ 2506434 h 4883744"/>
              <a:gd name="connsiteX12" fmla="*/ 5473336 w 5473336"/>
              <a:gd name="connsiteY12" fmla="*/ 2787194 h 4883744"/>
              <a:gd name="connsiteX13" fmla="*/ 5473336 w 5473336"/>
              <a:gd name="connsiteY13" fmla="*/ 2790320 h 4883744"/>
              <a:gd name="connsiteX14" fmla="*/ 5473336 w 5473336"/>
              <a:gd name="connsiteY14" fmla="*/ 2861522 h 4883744"/>
              <a:gd name="connsiteX15" fmla="*/ 5473336 w 5473336"/>
              <a:gd name="connsiteY15" fmla="*/ 2925488 h 4883744"/>
              <a:gd name="connsiteX16" fmla="*/ 5473336 w 5473336"/>
              <a:gd name="connsiteY16" fmla="*/ 3071080 h 4883744"/>
              <a:gd name="connsiteX17" fmla="*/ 5473336 w 5473336"/>
              <a:gd name="connsiteY17" fmla="*/ 3078035 h 4883744"/>
              <a:gd name="connsiteX18" fmla="*/ 5473336 w 5473336"/>
              <a:gd name="connsiteY18" fmla="*/ 3206248 h 4883744"/>
              <a:gd name="connsiteX19" fmla="*/ 5473336 w 5473336"/>
              <a:gd name="connsiteY19" fmla="*/ 3974345 h 4883744"/>
              <a:gd name="connsiteX20" fmla="*/ 966865 w 5473336"/>
              <a:gd name="connsiteY20" fmla="*/ 4862978 h 4883744"/>
              <a:gd name="connsiteX21" fmla="*/ 0 w 5473336"/>
              <a:gd name="connsiteY21" fmla="*/ 4140407 h 4883744"/>
              <a:gd name="connsiteX22" fmla="*/ 0 w 5473336"/>
              <a:gd name="connsiteY22" fmla="*/ 3206248 h 4883744"/>
              <a:gd name="connsiteX23" fmla="*/ 0 w 5473336"/>
              <a:gd name="connsiteY23" fmla="*/ 3078035 h 4883744"/>
              <a:gd name="connsiteX24" fmla="*/ 0 w 5473336"/>
              <a:gd name="connsiteY24" fmla="*/ 3071080 h 4883744"/>
              <a:gd name="connsiteX25" fmla="*/ 0 w 5473336"/>
              <a:gd name="connsiteY25" fmla="*/ 3027584 h 4883744"/>
              <a:gd name="connsiteX26" fmla="*/ 0 w 5473336"/>
              <a:gd name="connsiteY26" fmla="*/ 2925488 h 4883744"/>
              <a:gd name="connsiteX27" fmla="*/ 0 w 5473336"/>
              <a:gd name="connsiteY27" fmla="*/ 2790320 h 4883744"/>
              <a:gd name="connsiteX28" fmla="*/ 0 w 5473336"/>
              <a:gd name="connsiteY28" fmla="*/ 2787194 h 4883744"/>
              <a:gd name="connsiteX29" fmla="*/ 0 w 5473336"/>
              <a:gd name="connsiteY29" fmla="*/ 2506434 h 4883744"/>
              <a:gd name="connsiteX30" fmla="*/ 0 w 5473336"/>
              <a:gd name="connsiteY30" fmla="*/ 2377311 h 4883744"/>
              <a:gd name="connsiteX31" fmla="*/ 0 w 5473336"/>
              <a:gd name="connsiteY31" fmla="*/ 2096551 h 4883744"/>
              <a:gd name="connsiteX32" fmla="*/ 0 w 5473336"/>
              <a:gd name="connsiteY32" fmla="*/ 2093425 h 4883744"/>
              <a:gd name="connsiteX33" fmla="*/ 0 w 5473336"/>
              <a:gd name="connsiteY33" fmla="*/ 2022223 h 4883744"/>
              <a:gd name="connsiteX34" fmla="*/ 0 w 5473336"/>
              <a:gd name="connsiteY34" fmla="*/ 1958257 h 4883744"/>
              <a:gd name="connsiteX35" fmla="*/ 0 w 5473336"/>
              <a:gd name="connsiteY35" fmla="*/ 1812665 h 4883744"/>
              <a:gd name="connsiteX36" fmla="*/ 0 w 5473336"/>
              <a:gd name="connsiteY36" fmla="*/ 1738337 h 4883744"/>
              <a:gd name="connsiteX37" fmla="*/ 0 w 5473336"/>
              <a:gd name="connsiteY37" fmla="*/ 1677497 h 4883744"/>
              <a:gd name="connsiteX38" fmla="*/ 0 w 5473336"/>
              <a:gd name="connsiteY38" fmla="*/ 1674371 h 4883744"/>
              <a:gd name="connsiteX39" fmla="*/ 0 w 5473336"/>
              <a:gd name="connsiteY39" fmla="*/ 1633637 h 4883744"/>
              <a:gd name="connsiteX40" fmla="*/ 0 w 5473336"/>
              <a:gd name="connsiteY40" fmla="*/ 909400 h 4883744"/>
              <a:gd name="connsiteX41" fmla="*/ 4506471 w 5473336"/>
              <a:gd name="connsiteY41" fmla="*/ 20767 h 4883744"/>
              <a:gd name="connsiteX42" fmla="*/ 4676664 w 5473336"/>
              <a:gd name="connsiteY42" fmla="*/ 1448 h 488374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</a:cxnLst>
            <a:rect l="l" t="t" r="r" b="b"/>
            <a:pathLst>
              <a:path w="5473336" h="4883744">
                <a:moveTo>
                  <a:pt x="4676664" y="1448"/>
                </a:moveTo>
                <a:cubicBezTo>
                  <a:pt x="5473336" y="-38046"/>
                  <a:pt x="5473336" y="743338"/>
                  <a:pt x="5473336" y="743338"/>
                </a:cubicBezTo>
                <a:lnTo>
                  <a:pt x="5473336" y="1633637"/>
                </a:lnTo>
                <a:lnTo>
                  <a:pt x="5473336" y="1674371"/>
                </a:lnTo>
                <a:lnTo>
                  <a:pt x="5473336" y="1677497"/>
                </a:lnTo>
                <a:lnTo>
                  <a:pt x="5473336" y="1812665"/>
                </a:lnTo>
                <a:lnTo>
                  <a:pt x="5473336" y="1856161"/>
                </a:lnTo>
                <a:lnTo>
                  <a:pt x="5473336" y="1958257"/>
                </a:lnTo>
                <a:lnTo>
                  <a:pt x="5473336" y="2093425"/>
                </a:lnTo>
                <a:lnTo>
                  <a:pt x="5473336" y="2096551"/>
                </a:lnTo>
                <a:lnTo>
                  <a:pt x="5473336" y="2377311"/>
                </a:lnTo>
                <a:lnTo>
                  <a:pt x="5473336" y="2506434"/>
                </a:lnTo>
                <a:lnTo>
                  <a:pt x="5473336" y="2787194"/>
                </a:lnTo>
                <a:lnTo>
                  <a:pt x="5473336" y="2790320"/>
                </a:lnTo>
                <a:lnTo>
                  <a:pt x="5473336" y="2861522"/>
                </a:lnTo>
                <a:lnTo>
                  <a:pt x="5473336" y="2925488"/>
                </a:lnTo>
                <a:lnTo>
                  <a:pt x="5473336" y="3071080"/>
                </a:lnTo>
                <a:lnTo>
                  <a:pt x="5473336" y="3078035"/>
                </a:lnTo>
                <a:lnTo>
                  <a:pt x="5473336" y="3206248"/>
                </a:lnTo>
                <a:lnTo>
                  <a:pt x="5473336" y="3974345"/>
                </a:lnTo>
                <a:lnTo>
                  <a:pt x="966865" y="4862978"/>
                </a:lnTo>
                <a:cubicBezTo>
                  <a:pt x="0" y="5029448"/>
                  <a:pt x="0" y="4140407"/>
                  <a:pt x="0" y="4140407"/>
                </a:cubicBezTo>
                <a:lnTo>
                  <a:pt x="0" y="3206248"/>
                </a:lnTo>
                <a:lnTo>
                  <a:pt x="0" y="3078035"/>
                </a:lnTo>
                <a:lnTo>
                  <a:pt x="0" y="3071080"/>
                </a:lnTo>
                <a:lnTo>
                  <a:pt x="0" y="3027584"/>
                </a:lnTo>
                <a:lnTo>
                  <a:pt x="0" y="2925488"/>
                </a:lnTo>
                <a:lnTo>
                  <a:pt x="0" y="2790320"/>
                </a:lnTo>
                <a:lnTo>
                  <a:pt x="0" y="2787194"/>
                </a:lnTo>
                <a:lnTo>
                  <a:pt x="0" y="2506434"/>
                </a:lnTo>
                <a:lnTo>
                  <a:pt x="0" y="2377311"/>
                </a:lnTo>
                <a:lnTo>
                  <a:pt x="0" y="2096551"/>
                </a:lnTo>
                <a:lnTo>
                  <a:pt x="0" y="2093425"/>
                </a:lnTo>
                <a:lnTo>
                  <a:pt x="0" y="2022223"/>
                </a:lnTo>
                <a:lnTo>
                  <a:pt x="0" y="1958257"/>
                </a:lnTo>
                <a:lnTo>
                  <a:pt x="0" y="1812665"/>
                </a:lnTo>
                <a:lnTo>
                  <a:pt x="0" y="1738337"/>
                </a:lnTo>
                <a:lnTo>
                  <a:pt x="0" y="1677497"/>
                </a:lnTo>
                <a:lnTo>
                  <a:pt x="0" y="1674371"/>
                </a:lnTo>
                <a:lnTo>
                  <a:pt x="0" y="1633637"/>
                </a:lnTo>
                <a:lnTo>
                  <a:pt x="0" y="909400"/>
                </a:lnTo>
                <a:lnTo>
                  <a:pt x="4506471" y="20767"/>
                </a:lnTo>
                <a:cubicBezTo>
                  <a:pt x="4566900" y="10363"/>
                  <a:pt x="4623552" y="4081"/>
                  <a:pt x="4676664" y="1448"/>
                </a:cubicBezTo>
                <a:close/>
              </a:path>
            </a:pathLst>
          </a:custGeom>
          <a:noFill/>
          <a:ln w="19050">
            <a:solidFill>
              <a:schemeClr val="accent2"/>
            </a:solidFill>
          </a:ln>
        </p:spPr>
        <p:txBody>
          <a:bodyPr vert="horz" wrap="square" lIns="324000" tIns="1224000" rIns="324000" bIns="0" rtlCol="0">
            <a:noAutofit/>
          </a:bodyPr>
          <a:lstStyle>
            <a:lvl1pPr>
              <a:defRPr lang="de-DE" dirty="0"/>
            </a:lvl1pPr>
            <a:lvl2pPr>
              <a:defRPr lang="de-DE" dirty="0"/>
            </a:lvl2pPr>
            <a:lvl3pPr>
              <a:defRPr lang="de-DE" dirty="0"/>
            </a:lvl3pPr>
            <a:lvl4pPr>
              <a:defRPr lang="de-DE" dirty="0"/>
            </a:lvl4pPr>
            <a:lvl5pPr>
              <a:defRPr lang="de-DE" dirty="0"/>
            </a:lvl5pPr>
            <a:lvl6pPr>
              <a:defRPr lang="de-DE" dirty="0"/>
            </a:lvl6pPr>
            <a:lvl7pPr>
              <a:defRPr lang="de-DE" dirty="0"/>
            </a:lvl7pPr>
            <a:lvl8pPr>
              <a:defRPr lang="de-DE" dirty="0"/>
            </a:lvl8pPr>
            <a:lvl9pPr>
              <a:defRPr lang="de-DE" dirty="0"/>
            </a:lvl9pPr>
          </a:lstStyle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C64D3147-6A98-4684-B348-F506E50A721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 bwMode="gray"/>
        <p:txBody>
          <a:bodyPr/>
          <a:lstStyle>
            <a:lvl1pPr>
              <a:defRPr/>
            </a:lvl1pPr>
          </a:lstStyle>
          <a:p>
            <a:r>
              <a:rPr lang="de-DE" dirty="0"/>
              <a:t>Titel durch Klicken bearbeiten</a:t>
            </a:r>
          </a:p>
        </p:txBody>
      </p:sp>
      <p:sp>
        <p:nvSpPr>
          <p:cNvPr id="12" name="Datumsplatzhalter 11">
            <a:extLst>
              <a:ext uri="{FF2B5EF4-FFF2-40B4-BE49-F238E27FC236}">
                <a16:creationId xmlns:a16="http://schemas.microsoft.com/office/drawing/2014/main" id="{253F14FA-B25B-4FD9-AA98-80E7B88C9450}"/>
              </a:ext>
            </a:extLst>
          </p:cNvPr>
          <p:cNvSpPr>
            <a:spLocks noGrp="1"/>
          </p:cNvSpPr>
          <p:nvPr>
            <p:ph type="dt" sz="half" idx="31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13" name="Fußzeilenplatzhalter 12">
            <a:extLst>
              <a:ext uri="{FF2B5EF4-FFF2-40B4-BE49-F238E27FC236}">
                <a16:creationId xmlns:a16="http://schemas.microsoft.com/office/drawing/2014/main" id="{4ECB1D28-ED18-4C3D-9D04-D6E3B360F05A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17" name="Foliennummernplatzhalter 16">
            <a:extLst>
              <a:ext uri="{FF2B5EF4-FFF2-40B4-BE49-F238E27FC236}">
                <a16:creationId xmlns:a16="http://schemas.microsoft.com/office/drawing/2014/main" id="{E23746C8-73AD-4284-A38B-4F2952558076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/>
          <a:lstStyle/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3770568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  <p15:guide id="9" pos="3977">
          <p15:clr>
            <a:srgbClr val="F26B43"/>
          </p15:clr>
        </p15:guide>
        <p15:guide id="10" pos="3705">
          <p15:clr>
            <a:srgbClr val="F26B43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mit Zitat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B601A16-8A14-4253-AFFA-8FD4DA9063DB}"/>
              </a:ext>
            </a:extLst>
          </p:cNvPr>
          <p:cNvSpPr>
            <a:spLocks noGrp="1" noChangeAspect="1"/>
          </p:cNvSpPr>
          <p:nvPr>
            <p:ph type="pic" sz="quarter" idx="25" hasCustomPrompt="1"/>
          </p:nvPr>
        </p:nvSpPr>
        <p:spPr bwMode="gray">
          <a:xfrm>
            <a:off x="2" y="3"/>
            <a:ext cx="12195173" cy="6310681"/>
          </a:xfrm>
          <a:custGeom>
            <a:avLst/>
            <a:gdLst>
              <a:gd name="connsiteX0" fmla="*/ 0 w 12195173"/>
              <a:gd name="connsiteY0" fmla="*/ 0 h 6310681"/>
              <a:gd name="connsiteX1" fmla="*/ 12195173 w 12195173"/>
              <a:gd name="connsiteY1" fmla="*/ 0 h 6310681"/>
              <a:gd name="connsiteX2" fmla="*/ 12195173 w 12195173"/>
              <a:gd name="connsiteY2" fmla="*/ 3933113 h 6310681"/>
              <a:gd name="connsiteX3" fmla="*/ 0 w 12195173"/>
              <a:gd name="connsiteY3" fmla="*/ 6310681 h 63106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5173" h="6310681">
                <a:moveTo>
                  <a:pt x="0" y="0"/>
                </a:moveTo>
                <a:lnTo>
                  <a:pt x="12195173" y="0"/>
                </a:lnTo>
                <a:lnTo>
                  <a:pt x="12195173" y="3933113"/>
                </a:lnTo>
                <a:lnTo>
                  <a:pt x="0" y="6310681"/>
                </a:ln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sz="1600" dirty="0"/>
              <a:t>Um ein Hintergrundbild einzufügen, markieren Sie bitte den 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Bibliothek oder über den Reiter „Einfügen“, „Bilder“ aus. </a:t>
            </a:r>
          </a:p>
        </p:txBody>
      </p:sp>
      <p:sp>
        <p:nvSpPr>
          <p:cNvPr id="5" name="Textfeld 4">
            <a:extLst>
              <a:ext uri="{FF2B5EF4-FFF2-40B4-BE49-F238E27FC236}">
                <a16:creationId xmlns:a16="http://schemas.microsoft.com/office/drawing/2014/main" id="{D944C12D-7D37-447A-87C7-3EBA3E61D993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90DFC38-6A65-4082-8ED5-8A69F055D7DB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 bwMode="gray">
          <a:xfrm>
            <a:off x="6313488" y="2255874"/>
            <a:ext cx="5473336" cy="4054808"/>
          </a:xfrm>
          <a:custGeom>
            <a:avLst/>
            <a:gdLst>
              <a:gd name="connsiteX0" fmla="*/ 4676664 w 5473336"/>
              <a:gd name="connsiteY0" fmla="*/ 1449 h 4054808"/>
              <a:gd name="connsiteX1" fmla="*/ 5473336 w 5473336"/>
              <a:gd name="connsiteY1" fmla="*/ 743339 h 4054808"/>
              <a:gd name="connsiteX2" fmla="*/ 5473336 w 5473336"/>
              <a:gd name="connsiteY2" fmla="*/ 1677498 h 4054808"/>
              <a:gd name="connsiteX3" fmla="*/ 5473336 w 5473336"/>
              <a:gd name="connsiteY3" fmla="*/ 1958258 h 4054808"/>
              <a:gd name="connsiteX4" fmla="*/ 5473336 w 5473336"/>
              <a:gd name="connsiteY4" fmla="*/ 2096552 h 4054808"/>
              <a:gd name="connsiteX5" fmla="*/ 5473336 w 5473336"/>
              <a:gd name="connsiteY5" fmla="*/ 2377312 h 4054808"/>
              <a:gd name="connsiteX6" fmla="*/ 5473336 w 5473336"/>
              <a:gd name="connsiteY6" fmla="*/ 3145409 h 4054808"/>
              <a:gd name="connsiteX7" fmla="*/ 966865 w 5473336"/>
              <a:gd name="connsiteY7" fmla="*/ 4034042 h 4054808"/>
              <a:gd name="connsiteX8" fmla="*/ 0 w 5473336"/>
              <a:gd name="connsiteY8" fmla="*/ 3311471 h 4054808"/>
              <a:gd name="connsiteX9" fmla="*/ 0 w 5473336"/>
              <a:gd name="connsiteY9" fmla="*/ 2377312 h 4054808"/>
              <a:gd name="connsiteX10" fmla="*/ 0 w 5473336"/>
              <a:gd name="connsiteY10" fmla="*/ 2096552 h 4054808"/>
              <a:gd name="connsiteX11" fmla="*/ 0 w 5473336"/>
              <a:gd name="connsiteY11" fmla="*/ 1958258 h 4054808"/>
              <a:gd name="connsiteX12" fmla="*/ 0 w 5473336"/>
              <a:gd name="connsiteY12" fmla="*/ 1677498 h 4054808"/>
              <a:gd name="connsiteX13" fmla="*/ 0 w 5473336"/>
              <a:gd name="connsiteY13" fmla="*/ 909401 h 4054808"/>
              <a:gd name="connsiteX14" fmla="*/ 4506471 w 5473336"/>
              <a:gd name="connsiteY14" fmla="*/ 20768 h 4054808"/>
              <a:gd name="connsiteX15" fmla="*/ 4676664 w 5473336"/>
              <a:gd name="connsiteY15" fmla="*/ 1449 h 405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473336" h="4054808">
                <a:moveTo>
                  <a:pt x="4676664" y="1449"/>
                </a:moveTo>
                <a:cubicBezTo>
                  <a:pt x="5473336" y="-38045"/>
                  <a:pt x="5473336" y="743339"/>
                  <a:pt x="5473336" y="743339"/>
                </a:cubicBezTo>
                <a:lnTo>
                  <a:pt x="5473336" y="1677498"/>
                </a:lnTo>
                <a:lnTo>
                  <a:pt x="5473336" y="1958258"/>
                </a:lnTo>
                <a:lnTo>
                  <a:pt x="5473336" y="2096552"/>
                </a:lnTo>
                <a:lnTo>
                  <a:pt x="5473336" y="2377312"/>
                </a:lnTo>
                <a:lnTo>
                  <a:pt x="5473336" y="3145409"/>
                </a:lnTo>
                <a:lnTo>
                  <a:pt x="966865" y="4034042"/>
                </a:lnTo>
                <a:cubicBezTo>
                  <a:pt x="0" y="4200512"/>
                  <a:pt x="0" y="3311471"/>
                  <a:pt x="0" y="3311471"/>
                </a:cubicBezTo>
                <a:lnTo>
                  <a:pt x="0" y="2377312"/>
                </a:lnTo>
                <a:lnTo>
                  <a:pt x="0" y="2096552"/>
                </a:lnTo>
                <a:lnTo>
                  <a:pt x="0" y="1958258"/>
                </a:lnTo>
                <a:lnTo>
                  <a:pt x="0" y="1677498"/>
                </a:lnTo>
                <a:lnTo>
                  <a:pt x="0" y="909401"/>
                </a:lnTo>
                <a:lnTo>
                  <a:pt x="4506471" y="20768"/>
                </a:lnTo>
                <a:cubicBezTo>
                  <a:pt x="4566900" y="10364"/>
                  <a:pt x="4623552" y="4082"/>
                  <a:pt x="4676664" y="1449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72000" tIns="72000" rIns="72000" bIns="36000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</a:t>
            </a:r>
            <a:br>
              <a:rPr lang="de-DE" dirty="0"/>
            </a:br>
            <a:r>
              <a:rPr lang="de-DE" dirty="0"/>
              <a:t>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310416002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mit Zitat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B601A16-8A14-4253-AFFA-8FD4DA9063D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2" y="3"/>
            <a:ext cx="12195173" cy="6857997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sz="1600" dirty="0"/>
              <a:t>Um ein Hintergrundbild einzufügen, markieren Sie bitte den 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Bibliothek oder über den Reiter „Einfügen“, „Bilder“ aus. 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8BFDE8F-3291-4AEE-B536-360B9E557D44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 bwMode="gray">
          <a:xfrm>
            <a:off x="8727117" y="404664"/>
            <a:ext cx="3059102" cy="5904000"/>
          </a:xfrm>
          <a:custGeom>
            <a:avLst/>
            <a:gdLst>
              <a:gd name="connsiteX0" fmla="*/ 2260389 w 3057061"/>
              <a:gd name="connsiteY0" fmla="*/ 1449 h 5907827"/>
              <a:gd name="connsiteX1" fmla="*/ 3057061 w 3057061"/>
              <a:gd name="connsiteY1" fmla="*/ 743338 h 5907827"/>
              <a:gd name="connsiteX2" fmla="*/ 3057061 w 3057061"/>
              <a:gd name="connsiteY2" fmla="*/ 1677497 h 5907827"/>
              <a:gd name="connsiteX3" fmla="*/ 3057061 w 3057061"/>
              <a:gd name="connsiteY3" fmla="*/ 1958257 h 5907827"/>
              <a:gd name="connsiteX4" fmla="*/ 3057061 w 3057061"/>
              <a:gd name="connsiteY4" fmla="*/ 2096551 h 5907827"/>
              <a:gd name="connsiteX5" fmla="*/ 3057061 w 3057061"/>
              <a:gd name="connsiteY5" fmla="*/ 2159597 h 5907827"/>
              <a:gd name="connsiteX6" fmla="*/ 3057061 w 3057061"/>
              <a:gd name="connsiteY6" fmla="*/ 2377311 h 5907827"/>
              <a:gd name="connsiteX7" fmla="*/ 3057061 w 3057061"/>
              <a:gd name="connsiteY7" fmla="*/ 3145408 h 5907827"/>
              <a:gd name="connsiteX8" fmla="*/ 3057061 w 3057061"/>
              <a:gd name="connsiteY8" fmla="*/ 5474894 h 5907827"/>
              <a:gd name="connsiteX9" fmla="*/ 966865 w 3057061"/>
              <a:gd name="connsiteY9" fmla="*/ 5887061 h 5907827"/>
              <a:gd name="connsiteX10" fmla="*/ 0 w 3057061"/>
              <a:gd name="connsiteY10" fmla="*/ 5164490 h 5907827"/>
              <a:gd name="connsiteX11" fmla="*/ 0 w 3057061"/>
              <a:gd name="connsiteY11" fmla="*/ 4230331 h 5907827"/>
              <a:gd name="connsiteX12" fmla="*/ 0 w 3057061"/>
              <a:gd name="connsiteY12" fmla="*/ 3949571 h 5907827"/>
              <a:gd name="connsiteX13" fmla="*/ 0 w 3057061"/>
              <a:gd name="connsiteY13" fmla="*/ 3811277 h 5907827"/>
              <a:gd name="connsiteX14" fmla="*/ 0 w 3057061"/>
              <a:gd name="connsiteY14" fmla="*/ 3748231 h 5907827"/>
              <a:gd name="connsiteX15" fmla="*/ 0 w 3057061"/>
              <a:gd name="connsiteY15" fmla="*/ 3530517 h 5907827"/>
              <a:gd name="connsiteX16" fmla="*/ 0 w 3057061"/>
              <a:gd name="connsiteY16" fmla="*/ 2762420 h 5907827"/>
              <a:gd name="connsiteX17" fmla="*/ 0 w 3057061"/>
              <a:gd name="connsiteY17" fmla="*/ 432934 h 5907827"/>
              <a:gd name="connsiteX18" fmla="*/ 2090196 w 3057061"/>
              <a:gd name="connsiteY18" fmla="*/ 20767 h 5907827"/>
              <a:gd name="connsiteX19" fmla="*/ 2260389 w 3057061"/>
              <a:gd name="connsiteY19" fmla="*/ 1449 h 59078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</a:cxnLst>
            <a:rect l="l" t="t" r="r" b="b"/>
            <a:pathLst>
              <a:path w="3057061" h="5907827">
                <a:moveTo>
                  <a:pt x="2260389" y="1449"/>
                </a:moveTo>
                <a:cubicBezTo>
                  <a:pt x="3057061" y="-38046"/>
                  <a:pt x="3057061" y="743338"/>
                  <a:pt x="3057061" y="743338"/>
                </a:cubicBezTo>
                <a:lnTo>
                  <a:pt x="3057061" y="1677497"/>
                </a:lnTo>
                <a:lnTo>
                  <a:pt x="3057061" y="1958257"/>
                </a:lnTo>
                <a:lnTo>
                  <a:pt x="3057061" y="2096551"/>
                </a:lnTo>
                <a:lnTo>
                  <a:pt x="3057061" y="2159597"/>
                </a:lnTo>
                <a:lnTo>
                  <a:pt x="3057061" y="2377311"/>
                </a:lnTo>
                <a:lnTo>
                  <a:pt x="3057061" y="3145408"/>
                </a:lnTo>
                <a:lnTo>
                  <a:pt x="3057061" y="5474894"/>
                </a:lnTo>
                <a:lnTo>
                  <a:pt x="966865" y="5887061"/>
                </a:lnTo>
                <a:cubicBezTo>
                  <a:pt x="0" y="6053531"/>
                  <a:pt x="0" y="5164490"/>
                  <a:pt x="0" y="5164490"/>
                </a:cubicBezTo>
                <a:lnTo>
                  <a:pt x="0" y="4230331"/>
                </a:lnTo>
                <a:lnTo>
                  <a:pt x="0" y="3949571"/>
                </a:lnTo>
                <a:lnTo>
                  <a:pt x="0" y="3811277"/>
                </a:lnTo>
                <a:lnTo>
                  <a:pt x="0" y="3748231"/>
                </a:lnTo>
                <a:lnTo>
                  <a:pt x="0" y="3530517"/>
                </a:lnTo>
                <a:lnTo>
                  <a:pt x="0" y="2762420"/>
                </a:lnTo>
                <a:lnTo>
                  <a:pt x="0" y="432934"/>
                </a:lnTo>
                <a:lnTo>
                  <a:pt x="2090196" y="20767"/>
                </a:lnTo>
                <a:cubicBezTo>
                  <a:pt x="2150625" y="10363"/>
                  <a:pt x="2207277" y="4081"/>
                  <a:pt x="2260389" y="1449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180000" tIns="72000" rIns="180000" bIns="72000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ext durch Klicken hinzufügen</a:t>
            </a:r>
          </a:p>
        </p:txBody>
      </p:sp>
    </p:spTree>
    <p:extLst>
      <p:ext uri="{BB962C8B-B14F-4D97-AF65-F5344CB8AC3E}">
        <p14:creationId xmlns:p14="http://schemas.microsoft.com/office/powerpoint/2010/main" val="18563059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Vollflächiges Bild mit Zitat 0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Bildplatzhalter 6">
            <a:extLst>
              <a:ext uri="{FF2B5EF4-FFF2-40B4-BE49-F238E27FC236}">
                <a16:creationId xmlns:a16="http://schemas.microsoft.com/office/drawing/2014/main" id="{EB601A16-8A14-4253-AFFA-8FD4DA9063DB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 bwMode="gray">
          <a:xfrm>
            <a:off x="2" y="3"/>
            <a:ext cx="12195173" cy="6857997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sz="1600" dirty="0"/>
              <a:t>Um ein Hintergrundbild einzufügen, markieren Sie bitte den 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Bibliothek oder über den Reiter „Einfügen“, „Bilder“ aus. </a:t>
            </a:r>
          </a:p>
        </p:txBody>
      </p:sp>
      <p:sp>
        <p:nvSpPr>
          <p:cNvPr id="14" name="Textplatzhalter 13">
            <a:extLst>
              <a:ext uri="{FF2B5EF4-FFF2-40B4-BE49-F238E27FC236}">
                <a16:creationId xmlns:a16="http://schemas.microsoft.com/office/drawing/2014/main" id="{390DFC38-6A65-4082-8ED5-8A69F055D7DB}"/>
              </a:ext>
            </a:extLst>
          </p:cNvPr>
          <p:cNvSpPr>
            <a:spLocks noGrp="1" noChangeAspect="1"/>
          </p:cNvSpPr>
          <p:nvPr>
            <p:ph type="body" sz="quarter" idx="26" hasCustomPrompt="1"/>
          </p:nvPr>
        </p:nvSpPr>
        <p:spPr bwMode="gray">
          <a:xfrm>
            <a:off x="6313611" y="2255874"/>
            <a:ext cx="5473336" cy="4054808"/>
          </a:xfrm>
          <a:custGeom>
            <a:avLst/>
            <a:gdLst>
              <a:gd name="connsiteX0" fmla="*/ 4676664 w 5473336"/>
              <a:gd name="connsiteY0" fmla="*/ 1449 h 4054808"/>
              <a:gd name="connsiteX1" fmla="*/ 5473336 w 5473336"/>
              <a:gd name="connsiteY1" fmla="*/ 743339 h 4054808"/>
              <a:gd name="connsiteX2" fmla="*/ 5473336 w 5473336"/>
              <a:gd name="connsiteY2" fmla="*/ 1677498 h 4054808"/>
              <a:gd name="connsiteX3" fmla="*/ 5473336 w 5473336"/>
              <a:gd name="connsiteY3" fmla="*/ 1958258 h 4054808"/>
              <a:gd name="connsiteX4" fmla="*/ 5473336 w 5473336"/>
              <a:gd name="connsiteY4" fmla="*/ 2096552 h 4054808"/>
              <a:gd name="connsiteX5" fmla="*/ 5473336 w 5473336"/>
              <a:gd name="connsiteY5" fmla="*/ 2377312 h 4054808"/>
              <a:gd name="connsiteX6" fmla="*/ 5473336 w 5473336"/>
              <a:gd name="connsiteY6" fmla="*/ 3145409 h 4054808"/>
              <a:gd name="connsiteX7" fmla="*/ 966865 w 5473336"/>
              <a:gd name="connsiteY7" fmla="*/ 4034042 h 4054808"/>
              <a:gd name="connsiteX8" fmla="*/ 0 w 5473336"/>
              <a:gd name="connsiteY8" fmla="*/ 3311471 h 4054808"/>
              <a:gd name="connsiteX9" fmla="*/ 0 w 5473336"/>
              <a:gd name="connsiteY9" fmla="*/ 2377312 h 4054808"/>
              <a:gd name="connsiteX10" fmla="*/ 0 w 5473336"/>
              <a:gd name="connsiteY10" fmla="*/ 2096552 h 4054808"/>
              <a:gd name="connsiteX11" fmla="*/ 0 w 5473336"/>
              <a:gd name="connsiteY11" fmla="*/ 1958258 h 4054808"/>
              <a:gd name="connsiteX12" fmla="*/ 0 w 5473336"/>
              <a:gd name="connsiteY12" fmla="*/ 1677498 h 4054808"/>
              <a:gd name="connsiteX13" fmla="*/ 0 w 5473336"/>
              <a:gd name="connsiteY13" fmla="*/ 909401 h 4054808"/>
              <a:gd name="connsiteX14" fmla="*/ 4506471 w 5473336"/>
              <a:gd name="connsiteY14" fmla="*/ 20768 h 4054808"/>
              <a:gd name="connsiteX15" fmla="*/ 4676664 w 5473336"/>
              <a:gd name="connsiteY15" fmla="*/ 1449 h 405480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5473336" h="4054808">
                <a:moveTo>
                  <a:pt x="4676664" y="1449"/>
                </a:moveTo>
                <a:cubicBezTo>
                  <a:pt x="5473336" y="-38045"/>
                  <a:pt x="5473336" y="743339"/>
                  <a:pt x="5473336" y="743339"/>
                </a:cubicBezTo>
                <a:lnTo>
                  <a:pt x="5473336" y="1677498"/>
                </a:lnTo>
                <a:lnTo>
                  <a:pt x="5473336" y="1958258"/>
                </a:lnTo>
                <a:lnTo>
                  <a:pt x="5473336" y="2096552"/>
                </a:lnTo>
                <a:lnTo>
                  <a:pt x="5473336" y="2377312"/>
                </a:lnTo>
                <a:lnTo>
                  <a:pt x="5473336" y="3145409"/>
                </a:lnTo>
                <a:lnTo>
                  <a:pt x="966865" y="4034042"/>
                </a:lnTo>
                <a:cubicBezTo>
                  <a:pt x="0" y="4200512"/>
                  <a:pt x="0" y="3311471"/>
                  <a:pt x="0" y="3311471"/>
                </a:cubicBezTo>
                <a:lnTo>
                  <a:pt x="0" y="2377312"/>
                </a:lnTo>
                <a:lnTo>
                  <a:pt x="0" y="2096552"/>
                </a:lnTo>
                <a:lnTo>
                  <a:pt x="0" y="1958258"/>
                </a:lnTo>
                <a:lnTo>
                  <a:pt x="0" y="1677498"/>
                </a:lnTo>
                <a:lnTo>
                  <a:pt x="0" y="909401"/>
                </a:lnTo>
                <a:lnTo>
                  <a:pt x="4506471" y="20768"/>
                </a:lnTo>
                <a:cubicBezTo>
                  <a:pt x="4566900" y="10364"/>
                  <a:pt x="4623552" y="4082"/>
                  <a:pt x="4676664" y="1449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72000" tIns="72000" rIns="72000" bIns="36000" anchor="ctr">
            <a:noAutofit/>
          </a:bodyPr>
          <a:lstStyle>
            <a:lvl1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1pPr>
            <a:lvl2pPr marL="0" indent="0" algn="ctr">
              <a:spcBef>
                <a:spcPts val="0"/>
              </a:spcBef>
              <a:buFont typeface="Arial" panose="020B0604020202020204" pitchFamily="34" charset="0"/>
              <a:buNone/>
              <a:defRPr sz="2800" b="1">
                <a:solidFill>
                  <a:schemeClr val="bg1"/>
                </a:solidFill>
              </a:defRPr>
            </a:lvl2pPr>
            <a:lvl3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4pPr>
            <a:lvl5pPr marL="0" indent="0" algn="ctr">
              <a:spcBef>
                <a:spcPts val="0"/>
              </a:spcBef>
              <a:buNone/>
              <a:defRPr sz="2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Text durch </a:t>
            </a:r>
            <a:br>
              <a:rPr lang="de-DE"/>
            </a:br>
            <a:r>
              <a:rPr lang="de-DE"/>
              <a:t>Klicken </a:t>
            </a:r>
            <a:r>
              <a:rPr lang="de-DE" dirty="0"/>
              <a:t>hinzufügen</a:t>
            </a:r>
          </a:p>
        </p:txBody>
      </p:sp>
    </p:spTree>
    <p:extLst>
      <p:ext uri="{BB962C8B-B14F-4D97-AF65-F5344CB8AC3E}">
        <p14:creationId xmlns:p14="http://schemas.microsoft.com/office/powerpoint/2010/main" val="17142775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257">
          <p15:clr>
            <a:srgbClr val="F26B43"/>
          </p15:clr>
        </p15:guide>
        <p15:guide id="3" orient="horz" pos="255">
          <p15:clr>
            <a:srgbClr val="F26B43"/>
          </p15:clr>
        </p15:guide>
        <p15:guide id="6" orient="horz" pos="890">
          <p15:clr>
            <a:srgbClr val="F26B43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unten und positi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9">
            <a:extLst>
              <a:ext uri="{FF2B5EF4-FFF2-40B4-BE49-F238E27FC236}">
                <a16:creationId xmlns:a16="http://schemas.microsoft.com/office/drawing/2014/main" id="{659E978D-933F-488C-82EE-39A95991D2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" y="2348738"/>
            <a:ext cx="11575073" cy="4509262"/>
          </a:xfrm>
          <a:custGeom>
            <a:avLst/>
            <a:gdLst>
              <a:gd name="connsiteX0" fmla="*/ 10825046 w 11575073"/>
              <a:gd name="connsiteY0" fmla="*/ 1364 h 4509262"/>
              <a:gd name="connsiteX1" fmla="*/ 11575073 w 11575073"/>
              <a:gd name="connsiteY1" fmla="*/ 699815 h 4509262"/>
              <a:gd name="connsiteX2" fmla="*/ 11575073 w 11575073"/>
              <a:gd name="connsiteY2" fmla="*/ 4509262 h 4509262"/>
              <a:gd name="connsiteX3" fmla="*/ 0 w 11575073"/>
              <a:gd name="connsiteY3" fmla="*/ 4509262 h 4509262"/>
              <a:gd name="connsiteX4" fmla="*/ 0 w 11575073"/>
              <a:gd name="connsiteY4" fmla="*/ 2122554 h 4509262"/>
              <a:gd name="connsiteX5" fmla="*/ 10664818 w 11575073"/>
              <a:gd name="connsiteY5" fmla="*/ 19551 h 4509262"/>
              <a:gd name="connsiteX6" fmla="*/ 10825046 w 11575073"/>
              <a:gd name="connsiteY6" fmla="*/ 1364 h 4509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75073" h="4509262">
                <a:moveTo>
                  <a:pt x="10825046" y="1364"/>
                </a:moveTo>
                <a:cubicBezTo>
                  <a:pt x="11575073" y="-35818"/>
                  <a:pt x="11575073" y="699815"/>
                  <a:pt x="11575073" y="699815"/>
                </a:cubicBezTo>
                <a:lnTo>
                  <a:pt x="11575073" y="4509262"/>
                </a:lnTo>
                <a:lnTo>
                  <a:pt x="0" y="4509262"/>
                </a:lnTo>
                <a:lnTo>
                  <a:pt x="0" y="2122554"/>
                </a:lnTo>
                <a:lnTo>
                  <a:pt x="10664818" y="19551"/>
                </a:lnTo>
                <a:cubicBezTo>
                  <a:pt x="10721709" y="9756"/>
                  <a:pt x="10775044" y="3843"/>
                  <a:pt x="10825046" y="1364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2520000" tIns="72000" rIns="72000" bIns="72000" rtlCol="0" anchor="b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Dieses Layout steht in zwei Varianten zur Verfügung: mit positivem und negativem Partnerlogo. Bitte wählen Sie das Layout aus, welches den bestmöglichen Kontrast zwischen Bild und Logo erzeugt.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4FDA422-946E-4E94-9A2A-DF3A8167ED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0000" y="1327148"/>
            <a:ext cx="10080000" cy="923330"/>
          </a:xfrm>
          <a:prstGeom prst="rect">
            <a:avLst/>
          </a:prstGeom>
          <a:noFill/>
        </p:spPr>
        <p:txBody>
          <a:bodyPr wrap="square" lIns="0" tIns="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2-zeilig)</a:t>
            </a:r>
          </a:p>
        </p:txBody>
      </p:sp>
      <p:pic>
        <p:nvPicPr>
          <p:cNvPr id="23" name="Grafik 10">
            <a:extLst>
              <a:ext uri="{FF2B5EF4-FFF2-40B4-BE49-F238E27FC236}">
                <a16:creationId xmlns:a16="http://schemas.microsoft.com/office/drawing/2014/main" id="{2F90E044-3115-466D-9C29-E40A066B546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563898" y="409422"/>
            <a:ext cx="2016000" cy="608729"/>
          </a:xfrm>
          <a:prstGeom prst="rect">
            <a:avLst/>
          </a:prstGeom>
        </p:spPr>
      </p:pic>
      <p:sp>
        <p:nvSpPr>
          <p:cNvPr id="9" name="Textplatzhalter 2">
            <a:extLst>
              <a:ext uri="{FF2B5EF4-FFF2-40B4-BE49-F238E27FC236}">
                <a16:creationId xmlns:a16="http://schemas.microsoft.com/office/drawing/2014/main" id="{9B4F194E-6CE7-4A85-AE3A-24CCC4D5B3F8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46DF9A9-BEA9-4792-80DC-AA1D7320E66C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30000" y="951417"/>
            <a:ext cx="7560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270AD210-D093-44F8-B337-CD00E42A1373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30000" y="2453983"/>
            <a:ext cx="7560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8D5A066C-AA8A-4AD7-B1D2-497F5E3D364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30000" y="2816643"/>
            <a:ext cx="6264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34100586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unten und negati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Bildplatzhalter 39">
            <a:extLst>
              <a:ext uri="{FF2B5EF4-FFF2-40B4-BE49-F238E27FC236}">
                <a16:creationId xmlns:a16="http://schemas.microsoft.com/office/drawing/2014/main" id="{659E978D-933F-488C-82EE-39A95991D2B8}"/>
              </a:ext>
            </a:extLst>
          </p:cNvPr>
          <p:cNvSpPr>
            <a:spLocks noGrp="1" noChangeAspect="1"/>
          </p:cNvSpPr>
          <p:nvPr>
            <p:ph type="pic" sz="quarter" idx="14" hasCustomPrompt="1"/>
          </p:nvPr>
        </p:nvSpPr>
        <p:spPr bwMode="gray">
          <a:xfrm>
            <a:off x="2" y="2348738"/>
            <a:ext cx="11575073" cy="4509262"/>
          </a:xfrm>
          <a:custGeom>
            <a:avLst/>
            <a:gdLst>
              <a:gd name="connsiteX0" fmla="*/ 10825046 w 11575073"/>
              <a:gd name="connsiteY0" fmla="*/ 1364 h 4509262"/>
              <a:gd name="connsiteX1" fmla="*/ 11575073 w 11575073"/>
              <a:gd name="connsiteY1" fmla="*/ 699815 h 4509262"/>
              <a:gd name="connsiteX2" fmla="*/ 11575073 w 11575073"/>
              <a:gd name="connsiteY2" fmla="*/ 4509262 h 4509262"/>
              <a:gd name="connsiteX3" fmla="*/ 0 w 11575073"/>
              <a:gd name="connsiteY3" fmla="*/ 4509262 h 4509262"/>
              <a:gd name="connsiteX4" fmla="*/ 0 w 11575073"/>
              <a:gd name="connsiteY4" fmla="*/ 2122554 h 4509262"/>
              <a:gd name="connsiteX5" fmla="*/ 10664818 w 11575073"/>
              <a:gd name="connsiteY5" fmla="*/ 19551 h 4509262"/>
              <a:gd name="connsiteX6" fmla="*/ 10825046 w 11575073"/>
              <a:gd name="connsiteY6" fmla="*/ 1364 h 450926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1575073" h="4509262">
                <a:moveTo>
                  <a:pt x="10825046" y="1364"/>
                </a:moveTo>
                <a:cubicBezTo>
                  <a:pt x="11575073" y="-35818"/>
                  <a:pt x="11575073" y="699815"/>
                  <a:pt x="11575073" y="699815"/>
                </a:cubicBezTo>
                <a:lnTo>
                  <a:pt x="11575073" y="4509262"/>
                </a:lnTo>
                <a:lnTo>
                  <a:pt x="0" y="4509262"/>
                </a:lnTo>
                <a:lnTo>
                  <a:pt x="0" y="2122554"/>
                </a:lnTo>
                <a:lnTo>
                  <a:pt x="10664818" y="19551"/>
                </a:lnTo>
                <a:cubicBezTo>
                  <a:pt x="10721709" y="9756"/>
                  <a:pt x="10775044" y="3843"/>
                  <a:pt x="10825046" y="1364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2520000" tIns="72000" rIns="72000" bIns="72000" rtlCol="0" anchor="b">
            <a:noAutofit/>
          </a:bodyPr>
          <a:lstStyle>
            <a:lvl1pPr>
              <a:defRPr lang="de-DE" sz="1600" baseline="0" dirty="0">
                <a:solidFill>
                  <a:schemeClr val="tx1"/>
                </a:solidFill>
              </a:defRPr>
            </a:lvl1pPr>
          </a:lstStyle>
          <a:p>
            <a:pPr marR="0" lvl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Dieses Layout steht in zwei Varianten zur Verfügung: mit positivem und negativem Partnerlogo. Bitte wählen Sie das Layout aus, welches den bestmöglichen Kontrast zwischen Bild und Logo erzeugt.</a:t>
            </a:r>
          </a:p>
        </p:txBody>
      </p:sp>
      <p:pic>
        <p:nvPicPr>
          <p:cNvPr id="23" name="Grafik 10">
            <a:extLst>
              <a:ext uri="{FF2B5EF4-FFF2-40B4-BE49-F238E27FC236}">
                <a16:creationId xmlns:a16="http://schemas.microsoft.com/office/drawing/2014/main" id="{2F90E044-3115-466D-9C29-E40A066B546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9563898" y="409422"/>
            <a:ext cx="2016000" cy="608729"/>
          </a:xfrm>
          <a:prstGeom prst="rect">
            <a:avLst/>
          </a:prstGeom>
        </p:spPr>
      </p:pic>
      <p:sp>
        <p:nvSpPr>
          <p:cNvPr id="9" name="Textplatzhalter 2">
            <a:extLst>
              <a:ext uri="{FF2B5EF4-FFF2-40B4-BE49-F238E27FC236}">
                <a16:creationId xmlns:a16="http://schemas.microsoft.com/office/drawing/2014/main" id="{4EC0FAF0-A1D6-4E9D-BCC5-5FE9781849D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4" name="Textplatzhalter 2">
            <a:extLst>
              <a:ext uri="{FF2B5EF4-FFF2-40B4-BE49-F238E27FC236}">
                <a16:creationId xmlns:a16="http://schemas.microsoft.com/office/drawing/2014/main" id="{514BC479-07EC-42DB-ABF9-357BB1B8D1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630000" y="1327148"/>
            <a:ext cx="10080000" cy="923330"/>
          </a:xfrm>
          <a:prstGeom prst="rect">
            <a:avLst/>
          </a:prstGeom>
          <a:noFill/>
        </p:spPr>
        <p:txBody>
          <a:bodyPr wrap="square" lIns="0" tIns="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2-zeilig)</a:t>
            </a:r>
          </a:p>
        </p:txBody>
      </p:sp>
      <p:sp>
        <p:nvSpPr>
          <p:cNvPr id="16" name="Textplatzhalter 3">
            <a:extLst>
              <a:ext uri="{FF2B5EF4-FFF2-40B4-BE49-F238E27FC236}">
                <a16:creationId xmlns:a16="http://schemas.microsoft.com/office/drawing/2014/main" id="{CCB26A21-6BFA-43D2-89A0-93F36FE1456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630000" y="951417"/>
            <a:ext cx="7560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7" name="Textplatzhalter 3">
            <a:extLst>
              <a:ext uri="{FF2B5EF4-FFF2-40B4-BE49-F238E27FC236}">
                <a16:creationId xmlns:a16="http://schemas.microsoft.com/office/drawing/2014/main" id="{4FECC35D-B1E8-4D3D-893F-E4B9747B4390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30000" y="2453983"/>
            <a:ext cx="7560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8" name="Textplatzhalter 3">
            <a:extLst>
              <a:ext uri="{FF2B5EF4-FFF2-40B4-BE49-F238E27FC236}">
                <a16:creationId xmlns:a16="http://schemas.microsoft.com/office/drawing/2014/main" id="{F189B50E-3F80-429D-933C-029109AD7863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30000" y="2816643"/>
            <a:ext cx="6264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547572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ohne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platzhalter 13">
            <a:extLst>
              <a:ext uri="{FF2B5EF4-FFF2-40B4-BE49-F238E27FC236}">
                <a16:creationId xmlns:a16="http://schemas.microsoft.com/office/drawing/2014/main" id="{E0C68517-A305-4B55-B379-C2D052B1CFD3}"/>
              </a:ext>
            </a:extLst>
          </p:cNvPr>
          <p:cNvSpPr>
            <a:spLocks noGrp="1" noChangeAspect="1"/>
          </p:cNvSpPr>
          <p:nvPr>
            <p:ph type="body" sz="quarter" idx="15" hasCustomPrompt="1"/>
          </p:nvPr>
        </p:nvSpPr>
        <p:spPr bwMode="gray">
          <a:xfrm>
            <a:off x="629999" y="1"/>
            <a:ext cx="11565176" cy="4222561"/>
          </a:xfrm>
          <a:custGeom>
            <a:avLst/>
            <a:gdLst>
              <a:gd name="connsiteX0" fmla="*/ 0 w 11565176"/>
              <a:gd name="connsiteY0" fmla="*/ 0 h 4222561"/>
              <a:gd name="connsiteX1" fmla="*/ 11565176 w 11565176"/>
              <a:gd name="connsiteY1" fmla="*/ 0 h 4222561"/>
              <a:gd name="connsiteX2" fmla="*/ 11565176 w 11565176"/>
              <a:gd name="connsiteY2" fmla="*/ 2101962 h 4222561"/>
              <a:gd name="connsiteX3" fmla="*/ 910254 w 11565176"/>
              <a:gd name="connsiteY3" fmla="*/ 4203011 h 4222561"/>
              <a:gd name="connsiteX4" fmla="*/ 0 w 11565176"/>
              <a:gd name="connsiteY4" fmla="*/ 3522747 h 42225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11565176" h="4222561">
                <a:moveTo>
                  <a:pt x="0" y="0"/>
                </a:moveTo>
                <a:lnTo>
                  <a:pt x="11565176" y="0"/>
                </a:lnTo>
                <a:lnTo>
                  <a:pt x="11565176" y="2101962"/>
                </a:lnTo>
                <a:lnTo>
                  <a:pt x="910254" y="4203011"/>
                </a:lnTo>
                <a:cubicBezTo>
                  <a:pt x="0" y="4359734"/>
                  <a:pt x="0" y="3522747"/>
                  <a:pt x="0" y="3522747"/>
                </a:cubicBezTo>
                <a:close/>
              </a:path>
            </a:pathLst>
          </a:custGeom>
          <a:solidFill>
            <a:schemeClr val="tx2"/>
          </a:solidFill>
        </p:spPr>
        <p:txBody>
          <a:bodyPr wrap="square" lIns="399600" tIns="1407600" rIns="324000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2-zeilig)</a:t>
            </a:r>
          </a:p>
        </p:txBody>
      </p:sp>
      <p:sp>
        <p:nvSpPr>
          <p:cNvPr id="17" name="Textplatzhalter 45">
            <a:extLst>
              <a:ext uri="{FF2B5EF4-FFF2-40B4-BE49-F238E27FC236}">
                <a16:creationId xmlns:a16="http://schemas.microsoft.com/office/drawing/2014/main" id="{A6623FAC-412C-411C-A9E9-5909FBEB343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9563898" y="409422"/>
            <a:ext cx="2014538" cy="608013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">
                <a:noFill/>
              </a:defRPr>
            </a:lvl5pPr>
            <a:lvl6pPr marL="360000" indent="0">
              <a:spcBef>
                <a:spcPts val="0"/>
              </a:spcBef>
              <a:spcAft>
                <a:spcPts val="0"/>
              </a:spcAft>
              <a:buFontTx/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22" name="Grafik 9">
            <a:extLst>
              <a:ext uri="{FF2B5EF4-FFF2-40B4-BE49-F238E27FC236}">
                <a16:creationId xmlns:a16="http://schemas.microsoft.com/office/drawing/2014/main" id="{7D2E2297-447D-4A5B-A68B-EE05793D8FAD}"/>
              </a:ext>
            </a:extLst>
          </p:cNvPr>
          <p:cNvSpPr txBox="1">
            <a:spLocks/>
          </p:cNvSpPr>
          <p:nvPr/>
        </p:nvSpPr>
        <p:spPr bwMode="gray">
          <a:xfrm>
            <a:off x="630000" y="6329316"/>
            <a:ext cx="1789200" cy="198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Wingdings" panose="05000000000000000000" pitchFamily="2" charset="2"/>
              <a:buChar char="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0"/>
              </a:spcBef>
            </a:pPr>
            <a:r>
              <a:rPr lang="de-DE"/>
              <a:t> </a:t>
            </a:r>
          </a:p>
        </p:txBody>
      </p:sp>
      <p:sp>
        <p:nvSpPr>
          <p:cNvPr id="8" name="Textplatzhalter 3">
            <a:extLst>
              <a:ext uri="{FF2B5EF4-FFF2-40B4-BE49-F238E27FC236}">
                <a16:creationId xmlns:a16="http://schemas.microsoft.com/office/drawing/2014/main" id="{D5E6013F-1162-401F-BF4F-843707295C3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 bwMode="gray">
          <a:xfrm>
            <a:off x="1030048" y="984854"/>
            <a:ext cx="6481588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850ADE13-7C6F-4597-A3C6-29F3D36F673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1030048" y="2500031"/>
            <a:ext cx="6481588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52CE6598-11D4-4C02-AADE-7D8C1E1C609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1030048" y="2852957"/>
            <a:ext cx="5760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10320596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rechts 0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4FDA422-946E-4E94-9A2A-DF3A8167ED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8272" y="2873814"/>
            <a:ext cx="5464800" cy="1440000"/>
          </a:xfrm>
          <a:prstGeom prst="rect">
            <a:avLst/>
          </a:prstGeom>
          <a:noFill/>
        </p:spPr>
        <p:txBody>
          <a:bodyPr wrap="square" lIns="0" tIns="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3-zeilig)</a:t>
            </a:r>
          </a:p>
        </p:txBody>
      </p:sp>
      <p:pic>
        <p:nvPicPr>
          <p:cNvPr id="23" name="Grafik 10">
            <a:extLst>
              <a:ext uri="{FF2B5EF4-FFF2-40B4-BE49-F238E27FC236}">
                <a16:creationId xmlns:a16="http://schemas.microsoft.com/office/drawing/2014/main" id="{2F90E044-3115-466D-9C29-E40A066B546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8272" y="409422"/>
            <a:ext cx="2016000" cy="608729"/>
          </a:xfrm>
          <a:prstGeom prst="rect">
            <a:avLst/>
          </a:prstGeom>
        </p:spPr>
      </p:pic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B474BA87-0443-4502-B2DD-8263DC069C69}"/>
              </a:ext>
            </a:extLst>
          </p:cNvPr>
          <p:cNvSpPr>
            <a:spLocks noGrp="1" noChangeAspect="1"/>
          </p:cNvSpPr>
          <p:nvPr>
            <p:ph type="pic" sz="quarter" idx="19" hasCustomPrompt="1"/>
          </p:nvPr>
        </p:nvSpPr>
        <p:spPr bwMode="gray">
          <a:xfrm>
            <a:off x="6103895" y="0"/>
            <a:ext cx="6091280" cy="6310680"/>
          </a:xfrm>
          <a:custGeom>
            <a:avLst/>
            <a:gdLst>
              <a:gd name="connsiteX0" fmla="*/ 0 w 6091280"/>
              <a:gd name="connsiteY0" fmla="*/ 0 h 6310680"/>
              <a:gd name="connsiteX1" fmla="*/ 6091280 w 6091280"/>
              <a:gd name="connsiteY1" fmla="*/ 0 h 6310680"/>
              <a:gd name="connsiteX2" fmla="*/ 6091280 w 6091280"/>
              <a:gd name="connsiteY2" fmla="*/ 5279428 h 6310680"/>
              <a:gd name="connsiteX3" fmla="*/ 966865 w 6091280"/>
              <a:gd name="connsiteY3" fmla="*/ 6289914 h 6310680"/>
              <a:gd name="connsiteX4" fmla="*/ 0 w 6091280"/>
              <a:gd name="connsiteY4" fmla="*/ 5567343 h 63106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1280" h="6310680">
                <a:moveTo>
                  <a:pt x="0" y="0"/>
                </a:moveTo>
                <a:lnTo>
                  <a:pt x="6091280" y="0"/>
                </a:lnTo>
                <a:lnTo>
                  <a:pt x="6091280" y="5279428"/>
                </a:lnTo>
                <a:lnTo>
                  <a:pt x="966865" y="6289914"/>
                </a:lnTo>
                <a:cubicBezTo>
                  <a:pt x="0" y="6456384"/>
                  <a:pt x="0" y="5567343"/>
                  <a:pt x="0" y="5567343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t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Bibliothek oder über den Reiter „Einfügen“, „Bilder“ aus. </a:t>
            </a:r>
          </a:p>
        </p:txBody>
      </p:sp>
      <p:sp>
        <p:nvSpPr>
          <p:cNvPr id="11" name="Textplatzhalter 3">
            <a:extLst>
              <a:ext uri="{FF2B5EF4-FFF2-40B4-BE49-F238E27FC236}">
                <a16:creationId xmlns:a16="http://schemas.microsoft.com/office/drawing/2014/main" id="{C9793A6E-8589-4144-B6FE-A4DFDECE949D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8272" y="2498083"/>
            <a:ext cx="54648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E112725-DFBF-42E4-912D-A818361A47F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8272" y="4522877"/>
            <a:ext cx="54648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C5378F37-488D-4CF7-8CF4-F001D9A601C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18272" y="4875803"/>
            <a:ext cx="54648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  <p:sp>
        <p:nvSpPr>
          <p:cNvPr id="3" name="Grafik 9">
            <a:extLst>
              <a:ext uri="{FF2B5EF4-FFF2-40B4-BE49-F238E27FC236}">
                <a16:creationId xmlns:a16="http://schemas.microsoft.com/office/drawing/2014/main" id="{9A169E19-5F01-492C-A227-0B32A8118074}"/>
              </a:ext>
            </a:extLst>
          </p:cNvPr>
          <p:cNvSpPr txBox="1">
            <a:spLocks/>
          </p:cNvSpPr>
          <p:nvPr/>
        </p:nvSpPr>
        <p:spPr bwMode="gray">
          <a:xfrm>
            <a:off x="418272" y="6329316"/>
            <a:ext cx="1789200" cy="198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Wingdings" panose="05000000000000000000" pitchFamily="2" charset="2"/>
              <a:buChar char="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0"/>
              </a:spcBef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6144915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2" pos="3977">
          <p15:clr>
            <a:srgbClr val="FBAE40"/>
          </p15:clr>
        </p15:guide>
        <p15:guide id="3" pos="370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Bild rechts 0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F4FDA422-946E-4E94-9A2A-DF3A8167EDE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 bwMode="gray">
          <a:xfrm>
            <a:off x="418272" y="2873814"/>
            <a:ext cx="5464800" cy="1440000"/>
          </a:xfrm>
          <a:prstGeom prst="rect">
            <a:avLst/>
          </a:prstGeom>
          <a:noFill/>
        </p:spPr>
        <p:txBody>
          <a:bodyPr wrap="square" lIns="0" tIns="0">
            <a:noAutofit/>
          </a:bodyPr>
          <a:lstStyle>
            <a:lvl1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accent1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None/>
              <a:defRPr sz="3000" b="1">
                <a:solidFill>
                  <a:schemeClr val="bg1"/>
                </a:solidFill>
              </a:defRPr>
            </a:lvl2pPr>
            <a:lvl3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3pPr>
            <a:lvl4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4pPr>
            <a:lvl5pPr marL="0" indent="0">
              <a:spcBef>
                <a:spcPts val="0"/>
              </a:spcBef>
              <a:buNone/>
              <a:defRPr sz="3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Titelfolie (max. 3-zeilig)</a:t>
            </a:r>
          </a:p>
        </p:txBody>
      </p:sp>
      <p:pic>
        <p:nvPicPr>
          <p:cNvPr id="23" name="Grafik 10">
            <a:extLst>
              <a:ext uri="{FF2B5EF4-FFF2-40B4-BE49-F238E27FC236}">
                <a16:creationId xmlns:a16="http://schemas.microsoft.com/office/drawing/2014/main" id="{2F90E044-3115-466D-9C29-E40A066B546F}"/>
              </a:ext>
            </a:extLst>
          </p:cNvPr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418272" y="409422"/>
            <a:ext cx="2016000" cy="608729"/>
          </a:xfrm>
          <a:prstGeom prst="rect">
            <a:avLst/>
          </a:prstGeom>
        </p:spPr>
      </p:pic>
      <p:sp>
        <p:nvSpPr>
          <p:cNvPr id="11" name="Bildplatzhalter 13">
            <a:extLst>
              <a:ext uri="{FF2B5EF4-FFF2-40B4-BE49-F238E27FC236}">
                <a16:creationId xmlns:a16="http://schemas.microsoft.com/office/drawing/2014/main" id="{056AAA96-AD8F-412D-9611-336F7D59A3B0}"/>
              </a:ext>
            </a:extLst>
          </p:cNvPr>
          <p:cNvSpPr>
            <a:spLocks noGrp="1" noChangeAspect="1"/>
          </p:cNvSpPr>
          <p:nvPr>
            <p:ph type="pic" sz="quarter" idx="27" hasCustomPrompt="1"/>
          </p:nvPr>
        </p:nvSpPr>
        <p:spPr bwMode="gray">
          <a:xfrm>
            <a:off x="6313611" y="407400"/>
            <a:ext cx="5473336" cy="5903281"/>
          </a:xfrm>
          <a:custGeom>
            <a:avLst/>
            <a:gdLst>
              <a:gd name="connsiteX0" fmla="*/ 4676664 w 5473336"/>
              <a:gd name="connsiteY0" fmla="*/ 1449 h 5903281"/>
              <a:gd name="connsiteX1" fmla="*/ 5473336 w 5473336"/>
              <a:gd name="connsiteY1" fmla="*/ 743339 h 5903281"/>
              <a:gd name="connsiteX2" fmla="*/ 5473336 w 5473336"/>
              <a:gd name="connsiteY2" fmla="*/ 2096552 h 5903281"/>
              <a:gd name="connsiteX3" fmla="*/ 5473336 w 5473336"/>
              <a:gd name="connsiteY3" fmla="*/ 3806731 h 5903281"/>
              <a:gd name="connsiteX4" fmla="*/ 5473336 w 5473336"/>
              <a:gd name="connsiteY4" fmla="*/ 4993882 h 5903281"/>
              <a:gd name="connsiteX5" fmla="*/ 966865 w 5473336"/>
              <a:gd name="connsiteY5" fmla="*/ 5882515 h 5903281"/>
              <a:gd name="connsiteX6" fmla="*/ 0 w 5473336"/>
              <a:gd name="connsiteY6" fmla="*/ 5159944 h 5903281"/>
              <a:gd name="connsiteX7" fmla="*/ 0 w 5473336"/>
              <a:gd name="connsiteY7" fmla="*/ 3806731 h 5903281"/>
              <a:gd name="connsiteX8" fmla="*/ 0 w 5473336"/>
              <a:gd name="connsiteY8" fmla="*/ 2096552 h 5903281"/>
              <a:gd name="connsiteX9" fmla="*/ 0 w 5473336"/>
              <a:gd name="connsiteY9" fmla="*/ 909401 h 5903281"/>
              <a:gd name="connsiteX10" fmla="*/ 4506471 w 5473336"/>
              <a:gd name="connsiteY10" fmla="*/ 20768 h 5903281"/>
              <a:gd name="connsiteX11" fmla="*/ 4676664 w 5473336"/>
              <a:gd name="connsiteY11" fmla="*/ 1449 h 590328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5473336" h="5903281">
                <a:moveTo>
                  <a:pt x="4676664" y="1449"/>
                </a:moveTo>
                <a:cubicBezTo>
                  <a:pt x="5473336" y="-38045"/>
                  <a:pt x="5473336" y="743339"/>
                  <a:pt x="5473336" y="743339"/>
                </a:cubicBezTo>
                <a:lnTo>
                  <a:pt x="5473336" y="2096552"/>
                </a:lnTo>
                <a:lnTo>
                  <a:pt x="5473336" y="3806731"/>
                </a:lnTo>
                <a:lnTo>
                  <a:pt x="5473336" y="4993882"/>
                </a:lnTo>
                <a:lnTo>
                  <a:pt x="966865" y="5882515"/>
                </a:lnTo>
                <a:cubicBezTo>
                  <a:pt x="0" y="6048985"/>
                  <a:pt x="0" y="5159944"/>
                  <a:pt x="0" y="5159944"/>
                </a:cubicBezTo>
                <a:lnTo>
                  <a:pt x="0" y="3806731"/>
                </a:lnTo>
                <a:lnTo>
                  <a:pt x="0" y="2096552"/>
                </a:lnTo>
                <a:lnTo>
                  <a:pt x="0" y="909401"/>
                </a:lnTo>
                <a:lnTo>
                  <a:pt x="4506471" y="20768"/>
                </a:lnTo>
                <a:cubicBezTo>
                  <a:pt x="4566900" y="10364"/>
                  <a:pt x="4623552" y="4082"/>
                  <a:pt x="4676664" y="1449"/>
                </a:cubicBezTo>
                <a:close/>
              </a:path>
            </a:pathLst>
          </a:cu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72000" tIns="72000" rIns="72000" bIns="72000" rtlCol="0" anchor="ctr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sz="1600" dirty="0"/>
              <a:t>Um ein Hintergrundbild einzufügen, markieren Sie bitte den Platzhalter und wählen entweder ein Bild aus der </a:t>
            </a:r>
            <a:r>
              <a:rPr lang="de-DE" sz="1600" dirty="0" err="1"/>
              <a:t>empower</a:t>
            </a:r>
            <a:r>
              <a:rPr lang="de-DE" sz="1600" dirty="0"/>
              <a:t> Bibliothek oder über den Reiter „Einfügen“, „Bilder“ aus. 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365C24DE-8F23-4E60-BD70-2594DC1790A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418272" y="2498083"/>
            <a:ext cx="54648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F3453D81-6FEF-4159-93AE-FD993D2B9DAF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418272" y="4522877"/>
            <a:ext cx="54648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E025037C-4493-467C-8B7B-A012A33B6D2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418272" y="4875803"/>
            <a:ext cx="54648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  <p:sp>
        <p:nvSpPr>
          <p:cNvPr id="2" name="Grafik 9">
            <a:extLst>
              <a:ext uri="{FF2B5EF4-FFF2-40B4-BE49-F238E27FC236}">
                <a16:creationId xmlns:a16="http://schemas.microsoft.com/office/drawing/2014/main" id="{454647D9-B36A-4E1A-B318-155B63CE1D3D}"/>
              </a:ext>
            </a:extLst>
          </p:cNvPr>
          <p:cNvSpPr txBox="1">
            <a:spLocks/>
          </p:cNvSpPr>
          <p:nvPr/>
        </p:nvSpPr>
        <p:spPr bwMode="gray">
          <a:xfrm>
            <a:off x="418272" y="6329316"/>
            <a:ext cx="1789200" cy="1980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 anchor="ctr">
            <a:noAutofit/>
          </a:bodyPr>
          <a:lstStyle>
            <a:lvl1pPr marL="0" indent="0" algn="ctr" defTabSz="914400" rtl="0" eaLnBrk="1" latinLnBrk="0" hangingPunct="1">
              <a:spcBef>
                <a:spcPts val="1200"/>
              </a:spcBef>
              <a:buFont typeface="Arial" panose="020B0604020202020204" pitchFamily="34" charset="0"/>
              <a:buNone/>
              <a:defRPr lang="de-DE" sz="1200" b="0" kern="1200" baseline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spcBef>
                <a:spcPts val="600"/>
              </a:spcBef>
              <a:buFont typeface="Arial" panose="020B0604020202020204" pitchFamily="34" charset="0"/>
              <a:buNone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914400" rtl="0" eaLnBrk="1" latinLnBrk="0" hangingPunct="1">
              <a:spcBef>
                <a:spcPts val="600"/>
              </a:spcBef>
              <a:buClrTx/>
              <a:buFont typeface="Wingdings" panose="05000000000000000000" pitchFamily="2" charset="2"/>
              <a:buChar char="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914400" rtl="0" eaLnBrk="1" latinLnBrk="0" hangingPunct="1">
              <a:spcBef>
                <a:spcPts val="400"/>
              </a:spcBef>
              <a:buClrTx/>
              <a:buFont typeface="Arial" panose="020B0604020202020204" pitchFamily="34" charset="0"/>
              <a:buChar char="•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lang="de-DE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76000" indent="-216000" algn="l" defTabSz="914400" rtl="0" eaLnBrk="1" latinLnBrk="0" hangingPunct="1">
              <a:spcBef>
                <a:spcPts val="400"/>
              </a:spcBef>
              <a:buFont typeface="Symbol" panose="05050102010706020507" pitchFamily="18" charset="2"/>
              <a:buChar char="-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342900" indent="-342900">
              <a:spcBef>
                <a:spcPts val="0"/>
              </a:spcBef>
            </a:pPr>
            <a:r>
              <a:rPr lang="de-DE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181986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:p15="http://schemas.microsoft.com/office/powerpoint/2012/main"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3977">
          <p15:clr>
            <a:srgbClr val="FBAE40"/>
          </p15:clr>
        </p15:guide>
        <p15:guide id="2" pos="370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elfolie mit vollflächigem Bild und positiv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Bildplatzhalter 36">
            <a:extLst>
              <a:ext uri="{FF2B5EF4-FFF2-40B4-BE49-F238E27FC236}">
                <a16:creationId xmlns:a16="http://schemas.microsoft.com/office/drawing/2014/main" id="{4870B9C8-84BA-4064-8D52-EB6D8BB2C90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 bwMode="gray">
          <a:xfrm>
            <a:off x="0" y="-1"/>
            <a:ext cx="12196763" cy="6858000"/>
          </a:xfrm>
          <a:prstGeom prst="rect">
            <a:avLst/>
          </a:prstGeom>
          <a:pattFill prst="pct20">
            <a:fgClr>
              <a:schemeClr val="accent3"/>
            </a:fgClr>
            <a:bgClr>
              <a:schemeClr val="bg1"/>
            </a:bgClr>
          </a:pattFill>
        </p:spPr>
        <p:txBody>
          <a:bodyPr vert="horz" wrap="square" lIns="2520000" tIns="72000" rIns="72000" bIns="72000" rtlCol="0" anchor="b">
            <a:no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lang="de-DE" sz="1600" b="0" baseline="0">
                <a:solidFill>
                  <a:schemeClr val="tx1"/>
                </a:solidFill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de-DE" dirty="0"/>
              <a:t>Um ein Hintergrundbild einzufügen, markieren Sie bitte den Platzhalter und wählen entweder ein Bild aus der </a:t>
            </a:r>
            <a:r>
              <a:rPr lang="de-DE" dirty="0" err="1"/>
              <a:t>empower</a:t>
            </a:r>
            <a:r>
              <a:rPr lang="de-DE" dirty="0"/>
              <a:t> Bibliothek oder über den Reiter „Einfügen“, „Bilder“ aus. Dieses Layout steht in zwei Varianten zur Verfügung: mit positivem und negativem Partnerlogo. Bitte wählen Sie das Layout aus, welches den bestmöglichen Kontrast zwischen Bild und Logo erzeugt.</a:t>
            </a:r>
          </a:p>
        </p:txBody>
      </p:sp>
      <p:sp>
        <p:nvSpPr>
          <p:cNvPr id="37" name="Textplatzhalter 36">
            <a:extLst>
              <a:ext uri="{FF2B5EF4-FFF2-40B4-BE49-F238E27FC236}">
                <a16:creationId xmlns:a16="http://schemas.microsoft.com/office/drawing/2014/main" id="{DD62A635-A50B-4D06-8242-F16A7C749EF4}"/>
              </a:ext>
            </a:extLst>
          </p:cNvPr>
          <p:cNvSpPr>
            <a:spLocks noGrp="1" noChangeAspect="1"/>
          </p:cNvSpPr>
          <p:nvPr>
            <p:ph type="body" sz="quarter" idx="31" hasCustomPrompt="1"/>
          </p:nvPr>
        </p:nvSpPr>
        <p:spPr bwMode="gray">
          <a:xfrm rot="10800000" flipH="1" flipV="1">
            <a:off x="6105117" y="1016947"/>
            <a:ext cx="5678388" cy="4824104"/>
          </a:xfrm>
          <a:custGeom>
            <a:avLst/>
            <a:gdLst>
              <a:gd name="connsiteX0" fmla="*/ 826519 w 5678388"/>
              <a:gd name="connsiteY0" fmla="*/ 4822598 h 4824104"/>
              <a:gd name="connsiteX1" fmla="*/ 0 w 5678388"/>
              <a:gd name="connsiteY1" fmla="*/ 4050794 h 4824104"/>
              <a:gd name="connsiteX2" fmla="*/ 0 w 5678388"/>
              <a:gd name="connsiteY2" fmla="*/ 3078968 h 4824104"/>
              <a:gd name="connsiteX3" fmla="*/ 0 w 5678388"/>
              <a:gd name="connsiteY3" fmla="*/ 2945586 h 4824104"/>
              <a:gd name="connsiteX4" fmla="*/ 0 w 5678388"/>
              <a:gd name="connsiteY4" fmla="*/ 2938350 h 4824104"/>
              <a:gd name="connsiteX5" fmla="*/ 0 w 5678388"/>
              <a:gd name="connsiteY5" fmla="*/ 2893100 h 4824104"/>
              <a:gd name="connsiteX6" fmla="*/ 0 w 5678388"/>
              <a:gd name="connsiteY6" fmla="*/ 2786888 h 4824104"/>
              <a:gd name="connsiteX7" fmla="*/ 0 w 5678388"/>
              <a:gd name="connsiteY7" fmla="*/ 2732179 h 4824104"/>
              <a:gd name="connsiteX8" fmla="*/ 0 w 5678388"/>
              <a:gd name="connsiteY8" fmla="*/ 2646270 h 4824104"/>
              <a:gd name="connsiteX9" fmla="*/ 0 w 5678388"/>
              <a:gd name="connsiteY9" fmla="*/ 2643017 h 4824104"/>
              <a:gd name="connsiteX10" fmla="*/ 0 w 5678388"/>
              <a:gd name="connsiteY10" fmla="*/ 2607497 h 4824104"/>
              <a:gd name="connsiteX11" fmla="*/ 0 w 5678388"/>
              <a:gd name="connsiteY11" fmla="*/ 2473167 h 4824104"/>
              <a:gd name="connsiteX12" fmla="*/ 0 w 5678388"/>
              <a:gd name="connsiteY12" fmla="*/ 2350937 h 4824104"/>
              <a:gd name="connsiteX13" fmla="*/ 0 w 5678388"/>
              <a:gd name="connsiteY13" fmla="*/ 2216607 h 4824104"/>
              <a:gd name="connsiteX14" fmla="*/ 0 w 5678388"/>
              <a:gd name="connsiteY14" fmla="*/ 2181087 h 4824104"/>
              <a:gd name="connsiteX15" fmla="*/ 0 w 5678388"/>
              <a:gd name="connsiteY15" fmla="*/ 2177834 h 4824104"/>
              <a:gd name="connsiteX16" fmla="*/ 0 w 5678388"/>
              <a:gd name="connsiteY16" fmla="*/ 2103762 h 4824104"/>
              <a:gd name="connsiteX17" fmla="*/ 0 w 5678388"/>
              <a:gd name="connsiteY17" fmla="*/ 2091925 h 4824104"/>
              <a:gd name="connsiteX18" fmla="*/ 0 w 5678388"/>
              <a:gd name="connsiteY18" fmla="*/ 2037216 h 4824104"/>
              <a:gd name="connsiteX19" fmla="*/ 0 w 5678388"/>
              <a:gd name="connsiteY19" fmla="*/ 1885754 h 4824104"/>
              <a:gd name="connsiteX20" fmla="*/ 0 w 5678388"/>
              <a:gd name="connsiteY20" fmla="*/ 1878518 h 4824104"/>
              <a:gd name="connsiteX21" fmla="*/ 0 w 5678388"/>
              <a:gd name="connsiteY21" fmla="*/ 1745136 h 4824104"/>
              <a:gd name="connsiteX22" fmla="*/ 0 w 5678388"/>
              <a:gd name="connsiteY22" fmla="*/ 946068 h 4824104"/>
              <a:gd name="connsiteX23" fmla="*/ 4675300 w 5678388"/>
              <a:gd name="connsiteY23" fmla="*/ 21604 h 4824104"/>
              <a:gd name="connsiteX24" fmla="*/ 5678388 w 5678388"/>
              <a:gd name="connsiteY24" fmla="*/ 773310 h 4824104"/>
              <a:gd name="connsiteX25" fmla="*/ 5678388 w 5678388"/>
              <a:gd name="connsiteY25" fmla="*/ 1745136 h 4824104"/>
              <a:gd name="connsiteX26" fmla="*/ 5678388 w 5678388"/>
              <a:gd name="connsiteY26" fmla="*/ 1878518 h 4824104"/>
              <a:gd name="connsiteX27" fmla="*/ 5678388 w 5678388"/>
              <a:gd name="connsiteY27" fmla="*/ 1885754 h 4824104"/>
              <a:gd name="connsiteX28" fmla="*/ 5678388 w 5678388"/>
              <a:gd name="connsiteY28" fmla="*/ 1931004 h 4824104"/>
              <a:gd name="connsiteX29" fmla="*/ 5678388 w 5678388"/>
              <a:gd name="connsiteY29" fmla="*/ 2037216 h 4824104"/>
              <a:gd name="connsiteX30" fmla="*/ 5678388 w 5678388"/>
              <a:gd name="connsiteY30" fmla="*/ 2091925 h 4824104"/>
              <a:gd name="connsiteX31" fmla="*/ 5678388 w 5678388"/>
              <a:gd name="connsiteY31" fmla="*/ 2177834 h 4824104"/>
              <a:gd name="connsiteX32" fmla="*/ 5678388 w 5678388"/>
              <a:gd name="connsiteY32" fmla="*/ 2181087 h 4824104"/>
              <a:gd name="connsiteX33" fmla="*/ 5678388 w 5678388"/>
              <a:gd name="connsiteY33" fmla="*/ 2216607 h 4824104"/>
              <a:gd name="connsiteX34" fmla="*/ 5678388 w 5678388"/>
              <a:gd name="connsiteY34" fmla="*/ 2350937 h 4824104"/>
              <a:gd name="connsiteX35" fmla="*/ 5678388 w 5678388"/>
              <a:gd name="connsiteY35" fmla="*/ 2473167 h 4824104"/>
              <a:gd name="connsiteX36" fmla="*/ 5678388 w 5678388"/>
              <a:gd name="connsiteY36" fmla="*/ 2607497 h 4824104"/>
              <a:gd name="connsiteX37" fmla="*/ 5678388 w 5678388"/>
              <a:gd name="connsiteY37" fmla="*/ 2643017 h 4824104"/>
              <a:gd name="connsiteX38" fmla="*/ 5678388 w 5678388"/>
              <a:gd name="connsiteY38" fmla="*/ 2646270 h 4824104"/>
              <a:gd name="connsiteX39" fmla="*/ 5678388 w 5678388"/>
              <a:gd name="connsiteY39" fmla="*/ 2720342 h 4824104"/>
              <a:gd name="connsiteX40" fmla="*/ 5678388 w 5678388"/>
              <a:gd name="connsiteY40" fmla="*/ 2732179 h 4824104"/>
              <a:gd name="connsiteX41" fmla="*/ 5678388 w 5678388"/>
              <a:gd name="connsiteY41" fmla="*/ 2786888 h 4824104"/>
              <a:gd name="connsiteX42" fmla="*/ 5678388 w 5678388"/>
              <a:gd name="connsiteY42" fmla="*/ 2938350 h 4824104"/>
              <a:gd name="connsiteX43" fmla="*/ 5678388 w 5678388"/>
              <a:gd name="connsiteY43" fmla="*/ 2945586 h 4824104"/>
              <a:gd name="connsiteX44" fmla="*/ 5678388 w 5678388"/>
              <a:gd name="connsiteY44" fmla="*/ 3078968 h 4824104"/>
              <a:gd name="connsiteX45" fmla="*/ 5678388 w 5678388"/>
              <a:gd name="connsiteY45" fmla="*/ 3878036 h 4824104"/>
              <a:gd name="connsiteX46" fmla="*/ 1003088 w 5678388"/>
              <a:gd name="connsiteY46" fmla="*/ 4802500 h 4824104"/>
              <a:gd name="connsiteX47" fmla="*/ 826519 w 5678388"/>
              <a:gd name="connsiteY47" fmla="*/ 4822598 h 482410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</a:cxnLst>
            <a:rect l="l" t="t" r="r" b="b"/>
            <a:pathLst>
              <a:path w="5678388" h="4824104">
                <a:moveTo>
                  <a:pt x="826519" y="4822598"/>
                </a:moveTo>
                <a:cubicBezTo>
                  <a:pt x="0" y="4863684"/>
                  <a:pt x="0" y="4050794"/>
                  <a:pt x="0" y="4050794"/>
                </a:cubicBezTo>
                <a:lnTo>
                  <a:pt x="0" y="3078968"/>
                </a:lnTo>
                <a:lnTo>
                  <a:pt x="0" y="2945586"/>
                </a:lnTo>
                <a:lnTo>
                  <a:pt x="0" y="2938350"/>
                </a:lnTo>
                <a:lnTo>
                  <a:pt x="0" y="2893100"/>
                </a:lnTo>
                <a:lnTo>
                  <a:pt x="0" y="2786888"/>
                </a:lnTo>
                <a:lnTo>
                  <a:pt x="0" y="2732179"/>
                </a:lnTo>
                <a:lnTo>
                  <a:pt x="0" y="2646270"/>
                </a:lnTo>
                <a:lnTo>
                  <a:pt x="0" y="2643017"/>
                </a:lnTo>
                <a:lnTo>
                  <a:pt x="0" y="2607497"/>
                </a:lnTo>
                <a:lnTo>
                  <a:pt x="0" y="2473167"/>
                </a:lnTo>
                <a:lnTo>
                  <a:pt x="0" y="2350937"/>
                </a:lnTo>
                <a:lnTo>
                  <a:pt x="0" y="2216607"/>
                </a:lnTo>
                <a:lnTo>
                  <a:pt x="0" y="2181087"/>
                </a:lnTo>
                <a:lnTo>
                  <a:pt x="0" y="2177834"/>
                </a:lnTo>
                <a:lnTo>
                  <a:pt x="0" y="2103762"/>
                </a:lnTo>
                <a:lnTo>
                  <a:pt x="0" y="2091925"/>
                </a:lnTo>
                <a:lnTo>
                  <a:pt x="0" y="2037216"/>
                </a:lnTo>
                <a:lnTo>
                  <a:pt x="0" y="1885754"/>
                </a:lnTo>
                <a:lnTo>
                  <a:pt x="0" y="1878518"/>
                </a:lnTo>
                <a:lnTo>
                  <a:pt x="0" y="1745136"/>
                </a:lnTo>
                <a:lnTo>
                  <a:pt x="0" y="946068"/>
                </a:lnTo>
                <a:lnTo>
                  <a:pt x="4675300" y="21604"/>
                </a:lnTo>
                <a:cubicBezTo>
                  <a:pt x="5678388" y="-151578"/>
                  <a:pt x="5678388" y="773310"/>
                  <a:pt x="5678388" y="773310"/>
                </a:cubicBezTo>
                <a:lnTo>
                  <a:pt x="5678388" y="1745136"/>
                </a:lnTo>
                <a:lnTo>
                  <a:pt x="5678388" y="1878518"/>
                </a:lnTo>
                <a:lnTo>
                  <a:pt x="5678388" y="1885754"/>
                </a:lnTo>
                <a:lnTo>
                  <a:pt x="5678388" y="1931004"/>
                </a:lnTo>
                <a:lnTo>
                  <a:pt x="5678388" y="2037216"/>
                </a:lnTo>
                <a:lnTo>
                  <a:pt x="5678388" y="2091925"/>
                </a:lnTo>
                <a:lnTo>
                  <a:pt x="5678388" y="2177834"/>
                </a:lnTo>
                <a:lnTo>
                  <a:pt x="5678388" y="2181087"/>
                </a:lnTo>
                <a:lnTo>
                  <a:pt x="5678388" y="2216607"/>
                </a:lnTo>
                <a:lnTo>
                  <a:pt x="5678388" y="2350937"/>
                </a:lnTo>
                <a:lnTo>
                  <a:pt x="5678388" y="2473167"/>
                </a:lnTo>
                <a:lnTo>
                  <a:pt x="5678388" y="2607497"/>
                </a:lnTo>
                <a:lnTo>
                  <a:pt x="5678388" y="2643017"/>
                </a:lnTo>
                <a:lnTo>
                  <a:pt x="5678388" y="2646270"/>
                </a:lnTo>
                <a:lnTo>
                  <a:pt x="5678388" y="2720342"/>
                </a:lnTo>
                <a:lnTo>
                  <a:pt x="5678388" y="2732179"/>
                </a:lnTo>
                <a:lnTo>
                  <a:pt x="5678388" y="2786888"/>
                </a:lnTo>
                <a:lnTo>
                  <a:pt x="5678388" y="2938350"/>
                </a:lnTo>
                <a:lnTo>
                  <a:pt x="5678388" y="2945586"/>
                </a:lnTo>
                <a:lnTo>
                  <a:pt x="5678388" y="3078968"/>
                </a:lnTo>
                <a:lnTo>
                  <a:pt x="5678388" y="3878036"/>
                </a:lnTo>
                <a:lnTo>
                  <a:pt x="1003088" y="4802500"/>
                </a:lnTo>
                <a:cubicBezTo>
                  <a:pt x="940395" y="4813324"/>
                  <a:pt x="881620" y="4819858"/>
                  <a:pt x="826519" y="4822598"/>
                </a:cubicBezTo>
                <a:close/>
              </a:path>
            </a:pathLst>
          </a:custGeom>
          <a:solidFill>
            <a:schemeClr val="tx2">
              <a:alpha val="89000"/>
            </a:schemeClr>
          </a:solidFill>
        </p:spPr>
        <p:txBody>
          <a:bodyPr wrap="square" lIns="324000" tIns="1548000" rIns="324000">
            <a:noAutofit/>
          </a:bodyPr>
          <a:lstStyle>
            <a:lvl1pPr>
              <a:spcBef>
                <a:spcPts val="0"/>
              </a:spcBef>
              <a:defRPr sz="30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de-DE" dirty="0"/>
              <a:t>Titelfolie (max. 3-zeilig)</a:t>
            </a:r>
          </a:p>
        </p:txBody>
      </p:sp>
      <p:sp>
        <p:nvSpPr>
          <p:cNvPr id="46" name="Textplatzhalter 45">
            <a:extLst>
              <a:ext uri="{FF2B5EF4-FFF2-40B4-BE49-F238E27FC236}">
                <a16:creationId xmlns:a16="http://schemas.microsoft.com/office/drawing/2014/main" id="{502B336E-2768-432F-A8DB-0FB505A7D87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630000" y="409422"/>
            <a:ext cx="2014538" cy="60801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100">
                <a:noFill/>
              </a:defRPr>
            </a:lvl4pPr>
            <a:lvl5pPr marL="0" marR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00">
                <a:noFill/>
              </a:defRPr>
            </a:lvl5pPr>
            <a:lvl6pPr marL="360000" indent="0">
              <a:spcBef>
                <a:spcPts val="0"/>
              </a:spcBef>
              <a:spcAft>
                <a:spcPts val="0"/>
              </a:spcAft>
              <a:buFontTx/>
              <a:buNone/>
              <a:defRPr/>
            </a:lvl6pPr>
            <a:lvl7pPr marL="0" indent="0">
              <a:spcBef>
                <a:spcPts val="0"/>
              </a:spcBef>
              <a:spcAft>
                <a:spcPts val="0"/>
              </a:spcAft>
              <a:buNone/>
              <a:defRPr/>
            </a:lvl7pPr>
            <a:lvl8pPr marL="0" indent="0">
              <a:spcBef>
                <a:spcPts val="0"/>
              </a:spcBef>
              <a:spcAft>
                <a:spcPts val="0"/>
              </a:spcAft>
              <a:buNone/>
              <a:defRPr/>
            </a:lvl8pPr>
            <a:lvl9pPr marL="0" indent="0">
              <a:spcBef>
                <a:spcPts val="0"/>
              </a:spcBef>
              <a:spcAft>
                <a:spcPts val="0"/>
              </a:spcAft>
              <a:buNone/>
              <a:defRPr/>
            </a:lvl9pPr>
          </a:lstStyle>
          <a:p>
            <a:pPr lvl="0"/>
            <a:r>
              <a:rPr lang="de-DE" dirty="0"/>
              <a:t>x</a:t>
            </a:r>
          </a:p>
        </p:txBody>
      </p:sp>
      <p:sp>
        <p:nvSpPr>
          <p:cNvPr id="11" name="Textplatzhalter 2">
            <a:extLst>
              <a:ext uri="{FF2B5EF4-FFF2-40B4-BE49-F238E27FC236}">
                <a16:creationId xmlns:a16="http://schemas.microsoft.com/office/drawing/2014/main" id="{2E3D8BF4-3D98-4A0E-9022-DEBBAD27982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 bwMode="gray">
          <a:xfrm>
            <a:off x="630000" y="6329316"/>
            <a:ext cx="1789200" cy="198000"/>
          </a:xfrm>
          <a:blipFill>
            <a:blip r:embed="rId3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B4C54DAF-104E-4D17-9617-35514BC0CF94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 bwMode="gray">
          <a:xfrm>
            <a:off x="6425504" y="2192887"/>
            <a:ext cx="5148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1">
                <a:solidFill>
                  <a:schemeClr val="accent2"/>
                </a:solidFill>
              </a:defRPr>
            </a:lvl1pPr>
          </a:lstStyle>
          <a:p>
            <a:pPr lvl="0"/>
            <a:r>
              <a:rPr lang="de-DE" dirty="0"/>
              <a:t>Name Kunde / Veranstaltung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8391FC7-524F-4A12-94F6-3C06C638CC1D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 bwMode="gray">
          <a:xfrm>
            <a:off x="6425504" y="4217681"/>
            <a:ext cx="5148000" cy="246221"/>
          </a:xfrm>
        </p:spPr>
        <p:txBody>
          <a:bodyPr anchor="b" anchorCtr="0">
            <a:spAutoFit/>
          </a:bodyPr>
          <a:lstStyle>
            <a:lvl1pPr>
              <a:spcBef>
                <a:spcPts val="0"/>
              </a:spcBef>
              <a:defRPr sz="16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Ort, Datum – Referent Vorname Name</a:t>
            </a:r>
          </a:p>
        </p:txBody>
      </p:sp>
      <p:sp>
        <p:nvSpPr>
          <p:cNvPr id="13" name="Textplatzhalter 3">
            <a:extLst>
              <a:ext uri="{FF2B5EF4-FFF2-40B4-BE49-F238E27FC236}">
                <a16:creationId xmlns:a16="http://schemas.microsoft.com/office/drawing/2014/main" id="{93F8EDDD-90E8-4B69-9152-0DB4319AE30C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 bwMode="gray">
          <a:xfrm>
            <a:off x="6425504" y="4570607"/>
            <a:ext cx="5148000" cy="184666"/>
          </a:xfrm>
        </p:spPr>
        <p:txBody>
          <a:bodyPr>
            <a:spAutoFit/>
          </a:bodyPr>
          <a:lstStyle>
            <a:lvl1pPr>
              <a:spcBef>
                <a:spcPts val="0"/>
              </a:spcBef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dirty="0"/>
              <a:t>Vertraulichkeitshinweis durch Klicken bearbeiten</a:t>
            </a:r>
          </a:p>
        </p:txBody>
      </p:sp>
    </p:spTree>
    <p:extLst>
      <p:ext uri="{BB962C8B-B14F-4D97-AF65-F5344CB8AC3E}">
        <p14:creationId xmlns:p14="http://schemas.microsoft.com/office/powerpoint/2010/main" val="40179894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platzhalter 16"/>
          <p:cNvSpPr>
            <a:spLocks noGrp="1"/>
          </p:cNvSpPr>
          <p:nvPr>
            <p:ph type="body" idx="1"/>
          </p:nvPr>
        </p:nvSpPr>
        <p:spPr bwMode="gray">
          <a:xfrm>
            <a:off x="409575" y="1412776"/>
            <a:ext cx="11374760" cy="48958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dirty="0"/>
              <a:t>Text hinzufüg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  <a:p>
            <a:pPr lvl="5"/>
            <a:r>
              <a:rPr lang="de-DE" dirty="0"/>
              <a:t>Sechste Ebene</a:t>
            </a:r>
          </a:p>
          <a:p>
            <a:pPr lvl="6"/>
            <a:r>
              <a:rPr lang="de-DE" dirty="0"/>
              <a:t>Siebte Ebene</a:t>
            </a:r>
          </a:p>
          <a:p>
            <a:pPr lvl="7"/>
            <a:r>
              <a:rPr lang="de-DE" dirty="0"/>
              <a:t>Achte Ebene</a:t>
            </a:r>
          </a:p>
          <a:p>
            <a:pPr lvl="8"/>
            <a:r>
              <a:rPr lang="de-DE" dirty="0"/>
              <a:t>Neunte Ebene</a:t>
            </a:r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 bwMode="gray">
          <a:xfrm>
            <a:off x="409575" y="404664"/>
            <a:ext cx="11376024" cy="720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DE" dirty="0"/>
              <a:t>Titel durch Klicken bearbeiten</a:t>
            </a:r>
          </a:p>
        </p:txBody>
      </p:sp>
      <p:sp>
        <p:nvSpPr>
          <p:cNvPr id="2" name="empower - DO NOT DELETE!!!" hidden="1"/>
          <p:cNvSpPr/>
          <p:nvPr>
            <p:custDataLst>
              <p:tags r:id="rId37"/>
            </p:custDataLst>
          </p:nvPr>
        </p:nvSpPr>
        <p:spPr>
          <a:xfrm>
            <a:off x="0" y="0"/>
            <a:ext cx="0" cy="0"/>
          </a:xfrm>
          <a:prstGeom prst="ellipse">
            <a:avLst/>
          </a:prstGeom>
          <a:solidFill>
            <a:srgbClr val="A6AAA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180000" lvl="0" indent="-180000" algn="ctr">
              <a:spcBef>
                <a:spcPts val="600"/>
              </a:spcBef>
              <a:buClrTx/>
              <a:buFont typeface="Wingdings" panose="05000000000000000000" pitchFamily="2" charset="2"/>
              <a:buChar char=""/>
            </a:pPr>
            <a:endParaRPr lang="de-DE" sz="1400" dirty="0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C57F5BEB-3E2A-4B24-A121-EA3D6A10A49D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 dirty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FinanzGruppe Volksbanken Raiffeisenbanken</a:t>
            </a:r>
          </a:p>
        </p:txBody>
      </p:sp>
      <p:sp>
        <p:nvSpPr>
          <p:cNvPr id="11" name="Fußzeilenplatzhalter 4" title="Kapitelüberschrift  |  Kürzel  |  C0  |">
            <a:extLst>
              <a:ext uri="{FF2B5EF4-FFF2-40B4-BE49-F238E27FC236}">
                <a16:creationId xmlns:a16="http://schemas.microsoft.com/office/drawing/2014/main" id="{996B40F7-01CE-4890-B0FD-B969473F52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 bwMode="gray">
          <a:xfrm>
            <a:off x="6313488" y="151200"/>
            <a:ext cx="4393761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rgbClr val="888888"/>
                </a:solidFill>
              </a:defRPr>
            </a:lvl1pPr>
          </a:lstStyle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13" name="Foliennummernplatzhalter 5">
            <a:extLst>
              <a:ext uri="{FF2B5EF4-FFF2-40B4-BE49-F238E27FC236}">
                <a16:creationId xmlns:a16="http://schemas.microsoft.com/office/drawing/2014/main" id="{80CA4171-6D99-48E6-9F0F-CE88B6579C8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 bwMode="gray">
          <a:xfrm>
            <a:off x="11504750" y="151200"/>
            <a:ext cx="280800" cy="180000"/>
          </a:xfrm>
          <a:prstGeom prst="rect">
            <a:avLst/>
          </a:prstGeom>
        </p:spPr>
        <p:txBody>
          <a:bodyPr vert="horz" lIns="0" tIns="0" rIns="0" bIns="0" rtlCol="0" anchor="t"/>
          <a:lstStyle>
            <a:lvl1pPr algn="r">
              <a:defRPr sz="1000">
                <a:solidFill>
                  <a:srgbClr val="888888"/>
                </a:solidFill>
              </a:defRPr>
            </a:lvl1pPr>
          </a:lstStyle>
          <a:p>
            <a:fld id="{9C89B081-1F44-4440-BC7B-989C90F97B77}" type="slidenum">
              <a:rPr lang="de-DE"/>
              <a:pPr/>
              <a:t>‹Nr.›</a:t>
            </a:fld>
            <a:endParaRPr lang="de-DE" dirty="0"/>
          </a:p>
        </p:txBody>
      </p:sp>
      <p:sp>
        <p:nvSpPr>
          <p:cNvPr id="14" name="Textfeld 21">
            <a:extLst>
              <a:ext uri="{FF2B5EF4-FFF2-40B4-BE49-F238E27FC236}">
                <a16:creationId xmlns:a16="http://schemas.microsoft.com/office/drawing/2014/main" id="{15832723-6E6A-4D2E-9CD0-4F42482C4DBA}"/>
              </a:ext>
            </a:extLst>
          </p:cNvPr>
          <p:cNvSpPr txBox="1"/>
          <p:nvPr/>
        </p:nvSpPr>
        <p:spPr bwMode="gray">
          <a:xfrm>
            <a:off x="11462400" y="151200"/>
            <a:ext cx="36000" cy="180020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defPPr>
              <a:defRPr lang="de-DE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+mn-ea"/>
                <a:cs typeface="Arial" charset="0"/>
              </a:defRPr>
            </a:lvl9pPr>
          </a:lstStyle>
          <a:p>
            <a:pPr fontAlgn="auto">
              <a:spcAft>
                <a:spcPts val="0"/>
              </a:spcAft>
            </a:pPr>
            <a:r>
              <a:rPr lang="de-DE" sz="1000" dirty="0">
                <a:solidFill>
                  <a:srgbClr val="888888"/>
                </a:solidFill>
              </a:rPr>
              <a:t>|</a:t>
            </a:r>
            <a:endParaRPr kumimoji="0" lang="de-DE" sz="1600" i="0" u="none" strike="noStrike" kern="0" cap="none" spc="0" normalizeH="0" baseline="0" noProof="0" dirty="0">
              <a:ln>
                <a:noFill/>
              </a:ln>
              <a:solidFill>
                <a:srgbClr val="888888"/>
              </a:solidFill>
              <a:effectLst/>
              <a:uLnTx/>
              <a:uFillTx/>
              <a:latin typeface="+mj-lt"/>
            </a:endParaRP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BBD5502F-296A-410B-A424-0FD8D874283B}"/>
              </a:ext>
            </a:extLst>
          </p:cNvPr>
          <p:cNvSpPr>
            <a:spLocks noGrp="1"/>
          </p:cNvSpPr>
          <p:nvPr>
            <p:ph type="dt" sz="half" idx="2"/>
          </p:nvPr>
        </p:nvSpPr>
        <p:spPr bwMode="gray">
          <a:xfrm>
            <a:off x="10709631" y="151200"/>
            <a:ext cx="748800" cy="180000"/>
          </a:xfrm>
          <a:prstGeom prst="rect">
            <a:avLst/>
          </a:prstGeom>
        </p:spPr>
        <p:txBody>
          <a:bodyPr vert="horz" wrap="none" lIns="0" tIns="0" rIns="0" bIns="0" rtlCol="0" anchor="t"/>
          <a:lstStyle>
            <a:lvl1pPr algn="ctr">
              <a:defRPr sz="1000">
                <a:solidFill>
                  <a:srgbClr val="888888"/>
                </a:solidFill>
              </a:defRPr>
            </a:lvl1pPr>
          </a:lstStyle>
          <a:p>
            <a:r>
              <a:rPr lang="de-DE"/>
              <a:t>22.09.2022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1531798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5" r:id="rId1"/>
    <p:sldLayoutId id="2147483789" r:id="rId2"/>
    <p:sldLayoutId id="2147483771" r:id="rId3"/>
    <p:sldLayoutId id="2147483733" r:id="rId4"/>
    <p:sldLayoutId id="2147483790" r:id="rId5"/>
    <p:sldLayoutId id="2147483774" r:id="rId6"/>
    <p:sldLayoutId id="2147483793" r:id="rId7"/>
    <p:sldLayoutId id="2147483794" r:id="rId8"/>
    <p:sldLayoutId id="2147483796" r:id="rId9"/>
    <p:sldLayoutId id="2147483795" r:id="rId10"/>
    <p:sldLayoutId id="2147483737" r:id="rId11"/>
    <p:sldLayoutId id="2147483777" r:id="rId12"/>
    <p:sldLayoutId id="2147483778" r:id="rId13"/>
    <p:sldLayoutId id="2147483779" r:id="rId14"/>
    <p:sldLayoutId id="2147483780" r:id="rId15"/>
    <p:sldLayoutId id="2147483776" r:id="rId16"/>
    <p:sldLayoutId id="2147483738" r:id="rId17"/>
    <p:sldLayoutId id="2147483758" r:id="rId18"/>
    <p:sldLayoutId id="2147483759" r:id="rId19"/>
    <p:sldLayoutId id="2147483760" r:id="rId20"/>
    <p:sldLayoutId id="2147483761" r:id="rId21"/>
    <p:sldLayoutId id="2147483764" r:id="rId22"/>
    <p:sldLayoutId id="2147483765" r:id="rId23"/>
    <p:sldLayoutId id="2147483766" r:id="rId24"/>
    <p:sldLayoutId id="2147483781" r:id="rId25"/>
    <p:sldLayoutId id="2147483782" r:id="rId26"/>
    <p:sldLayoutId id="2147483784" r:id="rId27"/>
    <p:sldLayoutId id="2147483783" r:id="rId28"/>
    <p:sldLayoutId id="2147483785" r:id="rId29"/>
    <p:sldLayoutId id="2147483792" r:id="rId30"/>
    <p:sldLayoutId id="2147483791" r:id="rId31"/>
    <p:sldLayoutId id="2147483786" r:id="rId32"/>
    <p:sldLayoutId id="2147483770" r:id="rId33"/>
    <p:sldLayoutId id="2147483787" r:id="rId34"/>
    <p:sldLayoutId id="2147483788" r:id="rId35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lang="de-DE" sz="2600" b="1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1200"/>
        </a:spcBef>
        <a:buFont typeface="Arial" panose="020B0604020202020204" pitchFamily="34" charset="0"/>
        <a:buNone/>
        <a:defRPr lang="de-DE" sz="1800" b="0" kern="1200" dirty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spcBef>
          <a:spcPts val="600"/>
        </a:spcBef>
        <a:buFont typeface="Arial" panose="020B0604020202020204" pitchFamily="34" charset="0"/>
        <a:buNone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2pPr>
      <a:lvl3pPr marL="180000" indent="-180000" algn="l" defTabSz="914400" rtl="0" eaLnBrk="1" latinLnBrk="0" hangingPunct="1">
        <a:spcBef>
          <a:spcPts val="600"/>
        </a:spcBef>
        <a:buClrTx/>
        <a:buFont typeface="Wingdings" panose="05000000000000000000" pitchFamily="2" charset="2"/>
        <a:buChar char="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3pPr>
      <a:lvl4pPr marL="360000" indent="-180000" algn="l" defTabSz="914400" rtl="0" eaLnBrk="1" latinLnBrk="0" hangingPunct="1">
        <a:spcBef>
          <a:spcPts val="400"/>
        </a:spcBef>
        <a:buClrTx/>
        <a:buFont typeface="Arial" panose="020B0604020202020204" pitchFamily="34" charset="0"/>
        <a:buChar char="•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4pPr>
      <a:lvl5pPr marL="576000" indent="-21600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lang="de-DE" sz="1800" kern="1200" dirty="0">
          <a:solidFill>
            <a:schemeClr val="tx1"/>
          </a:solidFill>
          <a:latin typeface="+mn-lt"/>
          <a:ea typeface="+mn-ea"/>
          <a:cs typeface="+mn-cs"/>
        </a:defRPr>
      </a:lvl5pPr>
      <a:lvl6pPr marL="576000" indent="-21600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576000" indent="-21600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576000" indent="-21600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576000" indent="-216000" algn="l" defTabSz="914400" rtl="0" eaLnBrk="1" latinLnBrk="0" hangingPunct="1">
        <a:spcBef>
          <a:spcPts val="400"/>
        </a:spcBef>
        <a:buFont typeface="Symbol" panose="05050102010706020507" pitchFamily="18" charset="2"/>
        <a:buChar char="-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58">
          <p15:clr>
            <a:srgbClr val="F26B43"/>
          </p15:clr>
        </p15:guide>
        <p15:guide id="2" orient="horz" pos="255">
          <p15:clr>
            <a:srgbClr val="F26B43"/>
          </p15:clr>
        </p15:guide>
        <p15:guide id="3" pos="7424">
          <p15:clr>
            <a:srgbClr val="F26B43"/>
          </p15:clr>
        </p15:guide>
        <p15:guide id="7" orient="horz" pos="890">
          <p15:clr>
            <a:srgbClr val="F26B43"/>
          </p15:clr>
        </p15:guide>
        <p15:guide id="8" orient="horz" pos="3974">
          <p15:clr>
            <a:srgbClr val="F26B43"/>
          </p15:clr>
        </p15:guide>
        <p15:guide id="10" orient="horz" pos="1298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7" Type="http://schemas.openxmlformats.org/officeDocument/2006/relationships/image" Target="../media/image9.sv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20.xml"/><Relationship Id="rId6" Type="http://schemas.openxmlformats.org/officeDocument/2006/relationships/image" Target="../media/image8.png"/><Relationship Id="rId5" Type="http://schemas.openxmlformats.org/officeDocument/2006/relationships/chart" Target="../charts/chart2.xml"/><Relationship Id="rId4" Type="http://schemas.openxmlformats.org/officeDocument/2006/relationships/chart" Target="../charts/chart1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chart" Target="../charts/chart3.xml"/><Relationship Id="rId1" Type="http://schemas.openxmlformats.org/officeDocument/2006/relationships/slideLayout" Target="../slideLayouts/slideLayout1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0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12.emf"/><Relationship Id="rId5" Type="http://schemas.openxmlformats.org/officeDocument/2006/relationships/image" Target="../media/image11.emf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30.xml"/><Relationship Id="rId1" Type="http://schemas.openxmlformats.org/officeDocument/2006/relationships/tags" Target="../tags/tag5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7" Type="http://schemas.openxmlformats.org/officeDocument/2006/relationships/image" Target="../media/image13.jpeg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6" Type="http://schemas.openxmlformats.org/officeDocument/2006/relationships/notesSlide" Target="../notesSlides/notesSlide2.xml"/><Relationship Id="rId5" Type="http://schemas.openxmlformats.org/officeDocument/2006/relationships/slideLayout" Target="../slideLayouts/slideLayout26.xml"/><Relationship Id="rId4" Type="http://schemas.openxmlformats.org/officeDocument/2006/relationships/tags" Target="../tags/tag9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platzhalter 9">
            <a:extLst>
              <a:ext uri="{FF2B5EF4-FFF2-40B4-BE49-F238E27FC236}">
                <a16:creationId xmlns:a16="http://schemas.microsoft.com/office/drawing/2014/main" id="{7E1824B2-B8CB-4E68-BDF2-933256690B5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15" b="12515"/>
          <a:stretch>
            <a:fillRect/>
          </a:stretch>
        </p:blipFill>
        <p:spPr/>
      </p:pic>
      <p:sp>
        <p:nvSpPr>
          <p:cNvPr id="3" name="Textplatzhalter 2">
            <a:extLst>
              <a:ext uri="{FF2B5EF4-FFF2-40B4-BE49-F238E27FC236}">
                <a16:creationId xmlns:a16="http://schemas.microsoft.com/office/drawing/2014/main" id="{EB22794D-1013-48D5-ADF8-553F0CD8547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e-DE" dirty="0" err="1"/>
              <a:t>Rising</a:t>
            </a:r>
            <a:r>
              <a:rPr lang="de-DE" dirty="0"/>
              <a:t> </a:t>
            </a:r>
            <a:r>
              <a:rPr lang="de-DE" dirty="0" err="1"/>
              <a:t>tide</a:t>
            </a:r>
            <a:r>
              <a:rPr lang="de-DE" dirty="0"/>
              <a:t> – </a:t>
            </a:r>
            <a:r>
              <a:rPr lang="de-DE" dirty="0" err="1"/>
              <a:t>upside</a:t>
            </a:r>
            <a:r>
              <a:rPr lang="de-DE" dirty="0"/>
              <a:t> Nachhaltigkeit!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3569B19A-C5CD-4F5C-92FE-CBA17BD1CE3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5" name="Textplatzhalter 4">
            <a:extLst>
              <a:ext uri="{FF2B5EF4-FFF2-40B4-BE49-F238E27FC236}">
                <a16:creationId xmlns:a16="http://schemas.microsoft.com/office/drawing/2014/main" id="{C9C0D07F-BCE1-4341-9F29-573834B58A7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endParaRPr lang="de-DE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6CE92089-39D8-4BD2-AA78-78A6456D4846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/>
          <a:lstStyle/>
          <a:p>
            <a:r>
              <a:rPr lang="de-DE" dirty="0"/>
              <a:t>5. </a:t>
            </a:r>
            <a:r>
              <a:rPr lang="de-DE" dirty="0" err="1"/>
              <a:t>re!source</a:t>
            </a:r>
            <a:r>
              <a:rPr lang="de-DE" dirty="0"/>
              <a:t> Jahreskonferenz</a:t>
            </a:r>
          </a:p>
        </p:txBody>
      </p:sp>
      <p:sp>
        <p:nvSpPr>
          <p:cNvPr id="7" name="Textplatzhalter 6">
            <a:extLst>
              <a:ext uri="{FF2B5EF4-FFF2-40B4-BE49-F238E27FC236}">
                <a16:creationId xmlns:a16="http://schemas.microsoft.com/office/drawing/2014/main" id="{60296FDE-FB8C-494A-8A02-EEF8381D512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1030047" y="2500031"/>
            <a:ext cx="7227779" cy="246221"/>
          </a:xfrm>
        </p:spPr>
        <p:txBody>
          <a:bodyPr/>
          <a:lstStyle/>
          <a:p>
            <a:r>
              <a:rPr lang="de-DE" dirty="0"/>
              <a:t>Berlin, 22. November 2022 – Jan von Mallinckrodt (Head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Sustainability</a:t>
            </a:r>
            <a:r>
              <a:rPr lang="de-DE" dirty="0"/>
              <a:t>)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486A33D3-6E15-4E84-B775-8DA472AD4240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/>
        <p:txBody>
          <a:bodyPr/>
          <a:lstStyle/>
          <a:p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938232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platzhalter 3">
            <a:extLst>
              <a:ext uri="{FF2B5EF4-FFF2-40B4-BE49-F238E27FC236}">
                <a16:creationId xmlns:a16="http://schemas.microsoft.com/office/drawing/2014/main" id="{7851EA7E-2671-4431-8F16-0373EB2CED4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09575" y="6168709"/>
            <a:ext cx="11375380" cy="307777"/>
          </a:xfrm>
        </p:spPr>
        <p:txBody>
          <a:bodyPr/>
          <a:lstStyle/>
          <a:p>
            <a:r>
              <a:rPr lang="de-DE" dirty="0"/>
              <a:t>Studie Union Investment durchgeführt vom </a:t>
            </a:r>
            <a:r>
              <a:rPr lang="de-DE" dirty="0" err="1"/>
              <a:t>rheingold</a:t>
            </a:r>
            <a:r>
              <a:rPr lang="de-DE" dirty="0"/>
              <a:t> Institut bei 3500 Privatpersonen in Deutschland</a:t>
            </a:r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AED10270-FF9E-4B3E-AE71-D377A434C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Themen Finanzanlage und </a:t>
            </a:r>
            <a:r>
              <a:rPr lang="de-DE" dirty="0">
                <a:solidFill>
                  <a:schemeClr val="accent2"/>
                </a:solidFill>
              </a:rPr>
              <a:t>Nachhaltigkeit</a:t>
            </a:r>
            <a:r>
              <a:rPr lang="de-DE" dirty="0"/>
              <a:t> sind für Menschen wichtig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584DC7D-1485-41E8-9E88-701419B45EF9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F4B964B-7995-4024-AE57-52A8C5C3771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5403F0-C78A-4B0A-BAFB-7AD0E4BBFA3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C89B081-1F44-4440-BC7B-989C90F97B77}" type="slidenum">
              <a:rPr lang="de-DE" smtClean="0"/>
              <a:pPr/>
              <a:t>2</a:t>
            </a:fld>
            <a:endParaRPr lang="de-DE" dirty="0"/>
          </a:p>
        </p:txBody>
      </p:sp>
      <p:pic>
        <p:nvPicPr>
          <p:cNvPr id="11" name="Grafik 10" descr="Ein Bild, das Mobiltelefon, Telefon, Person, mithilfe von enthält.&#10;&#10;Automatisch generierte Beschreibung">
            <a:extLst>
              <a:ext uri="{FF2B5EF4-FFF2-40B4-BE49-F238E27FC236}">
                <a16:creationId xmlns:a16="http://schemas.microsoft.com/office/drawing/2014/main" id="{A7E4C4D7-7E90-4CCD-8577-B2BC2BDB88AF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697" t="17610" r="13009"/>
          <a:stretch/>
        </p:blipFill>
        <p:spPr>
          <a:xfrm>
            <a:off x="409576" y="2565401"/>
            <a:ext cx="5472113" cy="3743325"/>
          </a:xfrm>
          <a:custGeom>
            <a:avLst/>
            <a:gdLst>
              <a:gd name="connsiteX0" fmla="*/ 0 w 5472113"/>
              <a:gd name="connsiteY0" fmla="*/ 0 h 3743325"/>
              <a:gd name="connsiteX1" fmla="*/ 5472113 w 5472113"/>
              <a:gd name="connsiteY1" fmla="*/ 0 h 3743325"/>
              <a:gd name="connsiteX2" fmla="*/ 5472113 w 5472113"/>
              <a:gd name="connsiteY2" fmla="*/ 3743325 h 3743325"/>
              <a:gd name="connsiteX3" fmla="*/ 0 w 5472113"/>
              <a:gd name="connsiteY3" fmla="*/ 3743325 h 3743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2113" h="3743325">
                <a:moveTo>
                  <a:pt x="0" y="0"/>
                </a:moveTo>
                <a:lnTo>
                  <a:pt x="5472113" y="0"/>
                </a:lnTo>
                <a:lnTo>
                  <a:pt x="5472113" y="3743325"/>
                </a:lnTo>
                <a:lnTo>
                  <a:pt x="0" y="3743325"/>
                </a:lnTo>
                <a:close/>
              </a:path>
            </a:pathLst>
          </a:custGeom>
        </p:spPr>
      </p:pic>
      <p:pic>
        <p:nvPicPr>
          <p:cNvPr id="12" name="Grafik 11" descr="Ein Bild, das Person enthält.&#10;&#10;Automatisch generierte Beschreibung">
            <a:extLst>
              <a:ext uri="{FF2B5EF4-FFF2-40B4-BE49-F238E27FC236}">
                <a16:creationId xmlns:a16="http://schemas.microsoft.com/office/drawing/2014/main" id="{1D3D082A-03AB-45A6-A0E5-A093699EAB75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341" t="8787" r="11818" b="8264"/>
          <a:stretch/>
        </p:blipFill>
        <p:spPr>
          <a:xfrm>
            <a:off x="6313489" y="2565400"/>
            <a:ext cx="5472111" cy="3743325"/>
          </a:xfrm>
          <a:custGeom>
            <a:avLst/>
            <a:gdLst>
              <a:gd name="connsiteX0" fmla="*/ 0 w 5472111"/>
              <a:gd name="connsiteY0" fmla="*/ 0 h 3743325"/>
              <a:gd name="connsiteX1" fmla="*/ 5472111 w 5472111"/>
              <a:gd name="connsiteY1" fmla="*/ 0 h 3743325"/>
              <a:gd name="connsiteX2" fmla="*/ 5472111 w 5472111"/>
              <a:gd name="connsiteY2" fmla="*/ 3743325 h 3743325"/>
              <a:gd name="connsiteX3" fmla="*/ 0 w 5472111"/>
              <a:gd name="connsiteY3" fmla="*/ 3743325 h 37433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472111" h="3743325">
                <a:moveTo>
                  <a:pt x="0" y="0"/>
                </a:moveTo>
                <a:lnTo>
                  <a:pt x="5472111" y="0"/>
                </a:lnTo>
                <a:lnTo>
                  <a:pt x="5472111" y="3743325"/>
                </a:lnTo>
                <a:lnTo>
                  <a:pt x="0" y="3743325"/>
                </a:lnTo>
                <a:close/>
              </a:path>
            </a:pathLst>
          </a:custGeom>
        </p:spPr>
      </p:pic>
      <p:sp>
        <p:nvSpPr>
          <p:cNvPr id="13" name="Rechteck 12">
            <a:extLst>
              <a:ext uri="{FF2B5EF4-FFF2-40B4-BE49-F238E27FC236}">
                <a16:creationId xmlns:a16="http://schemas.microsoft.com/office/drawing/2014/main" id="{8817212C-8F55-4BA7-95C2-B9C747DF6484}"/>
              </a:ext>
            </a:extLst>
          </p:cNvPr>
          <p:cNvSpPr/>
          <p:nvPr/>
        </p:nvSpPr>
        <p:spPr>
          <a:xfrm>
            <a:off x="0" y="1412876"/>
            <a:ext cx="11785550" cy="1044000"/>
          </a:xfrm>
          <a:prstGeom prst="rect">
            <a:avLst/>
          </a:prstGeom>
          <a:solidFill>
            <a:srgbClr val="C8D5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14" name="Rechteck 13">
            <a:extLst>
              <a:ext uri="{FF2B5EF4-FFF2-40B4-BE49-F238E27FC236}">
                <a16:creationId xmlns:a16="http://schemas.microsoft.com/office/drawing/2014/main" id="{06E1CD84-130F-4B2D-A231-FB8C828EC3CF}"/>
              </a:ext>
            </a:extLst>
          </p:cNvPr>
          <p:cNvSpPr/>
          <p:nvPr/>
        </p:nvSpPr>
        <p:spPr>
          <a:xfrm>
            <a:off x="409575" y="4689142"/>
            <a:ext cx="5455542" cy="1619582"/>
          </a:xfrm>
          <a:prstGeom prst="rect">
            <a:avLst/>
          </a:prstGeom>
          <a:gradFill flip="none" rotWithShape="1">
            <a:gsLst>
              <a:gs pos="100000">
                <a:srgbClr val="1D576C">
                  <a:alpha val="0"/>
                </a:srgbClr>
              </a:gs>
              <a:gs pos="43000">
                <a:srgbClr val="11202A">
                  <a:alpha val="45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EE5F5CD-DB78-4E7C-8E16-CADFEF1D3B15}"/>
              </a:ext>
            </a:extLst>
          </p:cNvPr>
          <p:cNvSpPr/>
          <p:nvPr/>
        </p:nvSpPr>
        <p:spPr>
          <a:xfrm>
            <a:off x="6330058" y="4041068"/>
            <a:ext cx="5455542" cy="2267656"/>
          </a:xfrm>
          <a:prstGeom prst="rect">
            <a:avLst/>
          </a:prstGeom>
          <a:gradFill flip="none" rotWithShape="1">
            <a:gsLst>
              <a:gs pos="100000">
                <a:srgbClr val="89684C">
                  <a:alpha val="0"/>
                </a:srgbClr>
              </a:gs>
              <a:gs pos="44000">
                <a:srgbClr val="564335">
                  <a:alpha val="70000"/>
                </a:srgbClr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52F907D1-0CD6-4172-A25E-7B1999F4C314}"/>
              </a:ext>
            </a:extLst>
          </p:cNvPr>
          <p:cNvSpPr/>
          <p:nvPr/>
        </p:nvSpPr>
        <p:spPr>
          <a:xfrm>
            <a:off x="409575" y="5726288"/>
            <a:ext cx="5455542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144000" rIns="108000" rtlCol="0" anchor="b">
            <a:spAutoFit/>
          </a:bodyPr>
          <a:lstStyle/>
          <a:p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</a:rPr>
              <a:t>halten das Thema </a:t>
            </a: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Finanzanlage </a:t>
            </a: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</a:rPr>
              <a:t>für (sehr) wichtig</a:t>
            </a:r>
          </a:p>
        </p:txBody>
      </p:sp>
      <p:sp>
        <p:nvSpPr>
          <p:cNvPr id="17" name="Rechteck 16">
            <a:extLst>
              <a:ext uri="{FF2B5EF4-FFF2-40B4-BE49-F238E27FC236}">
                <a16:creationId xmlns:a16="http://schemas.microsoft.com/office/drawing/2014/main" id="{056C782E-66D0-4A76-BB23-FED4F2C49FB8}"/>
              </a:ext>
            </a:extLst>
          </p:cNvPr>
          <p:cNvSpPr/>
          <p:nvPr/>
        </p:nvSpPr>
        <p:spPr>
          <a:xfrm>
            <a:off x="6330057" y="5726288"/>
            <a:ext cx="5456161" cy="3693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lIns="108000" rIns="144000" rtlCol="0" anchor="b">
            <a:spAutoFit/>
          </a:bodyPr>
          <a:lstStyle/>
          <a:p>
            <a:pPr algn="r"/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</a:rPr>
              <a:t>halten das Thema </a:t>
            </a:r>
            <a:r>
              <a:rPr lang="de-DE" b="1" dirty="0">
                <a:solidFill>
                  <a:schemeClr val="bg1"/>
                </a:solidFill>
                <a:latin typeface="Arial" panose="020B0604020202020204" pitchFamily="34" charset="0"/>
              </a:rPr>
              <a:t>Nachhaltigkeit </a:t>
            </a: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</a:rPr>
              <a:t>für (sehr) wichtig</a:t>
            </a: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558D3F8-1A4E-42D6-88E9-50A54A7FFA8C}"/>
              </a:ext>
            </a:extLst>
          </p:cNvPr>
          <p:cNvSpPr txBox="1"/>
          <p:nvPr/>
        </p:nvSpPr>
        <p:spPr>
          <a:xfrm>
            <a:off x="1597087" y="1557850"/>
            <a:ext cx="10189130" cy="75405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400"/>
              </a:spcBef>
            </a:pPr>
            <a:r>
              <a:rPr lang="de-DE" sz="1600" dirty="0">
                <a:solidFill>
                  <a:schemeClr val="accent1"/>
                </a:solidFill>
              </a:rPr>
              <a:t>Wie wichtig ist Ihnen persönlich das Thema Finanzanlage? </a:t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accent1"/>
                </a:solidFill>
              </a:rPr>
              <a:t>Wie wichtig ist Ihnen persönlich das Thema Nachhaltigkeit?</a:t>
            </a:r>
          </a:p>
          <a:p>
            <a:pPr>
              <a:spcBef>
                <a:spcPts val="400"/>
              </a:spcBef>
            </a:pPr>
            <a:r>
              <a:rPr lang="de-DE" sz="1200" dirty="0"/>
              <a:t>Darstellung der Top2Boxes (wichtig oder sehr wichtig), in %</a:t>
            </a:r>
            <a:endParaRPr lang="de-DE" sz="1600" dirty="0"/>
          </a:p>
        </p:txBody>
      </p:sp>
      <p:graphicFrame>
        <p:nvGraphicFramePr>
          <p:cNvPr id="19" name="Diagramm 18">
            <a:extLst>
              <a:ext uri="{FF2B5EF4-FFF2-40B4-BE49-F238E27FC236}">
                <a16:creationId xmlns:a16="http://schemas.microsoft.com/office/drawing/2014/main" id="{F4E52888-38BA-4E1A-A3FB-043D0B2079C8}"/>
              </a:ext>
            </a:extLst>
          </p:cNvPr>
          <p:cNvGraphicFramePr/>
          <p:nvPr/>
        </p:nvGraphicFramePr>
        <p:xfrm>
          <a:off x="0" y="3847891"/>
          <a:ext cx="2817595" cy="1878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20" name="Rechteck 19">
            <a:extLst>
              <a:ext uri="{FF2B5EF4-FFF2-40B4-BE49-F238E27FC236}">
                <a16:creationId xmlns:a16="http://schemas.microsoft.com/office/drawing/2014/main" id="{6EDA3498-1880-4589-8629-CB3E9AE7F9C1}"/>
              </a:ext>
            </a:extLst>
          </p:cNvPr>
          <p:cNvSpPr/>
          <p:nvPr/>
        </p:nvSpPr>
        <p:spPr>
          <a:xfrm>
            <a:off x="648849" y="4349773"/>
            <a:ext cx="151154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144000" rIns="108000" rtlCol="0" anchor="b">
            <a:spAutoFit/>
          </a:bodyPr>
          <a:lstStyle/>
          <a:p>
            <a:pPr algn="ctr"/>
            <a:r>
              <a:rPr lang="de-DE" sz="4400" dirty="0">
                <a:solidFill>
                  <a:schemeClr val="bg1"/>
                </a:solidFill>
                <a:latin typeface="Arial" panose="020B0604020202020204" pitchFamily="34" charset="0"/>
              </a:rPr>
              <a:t>72</a:t>
            </a:r>
            <a:r>
              <a:rPr lang="de-DE" sz="4400" spc="-10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</a:rPr>
              <a:t>%</a:t>
            </a:r>
          </a:p>
        </p:txBody>
      </p:sp>
      <p:graphicFrame>
        <p:nvGraphicFramePr>
          <p:cNvPr id="21" name="Diagramm 20">
            <a:extLst>
              <a:ext uri="{FF2B5EF4-FFF2-40B4-BE49-F238E27FC236}">
                <a16:creationId xmlns:a16="http://schemas.microsoft.com/office/drawing/2014/main" id="{416617D0-7390-485B-89BE-16FAFC62EBCE}"/>
              </a:ext>
            </a:extLst>
          </p:cNvPr>
          <p:cNvGraphicFramePr/>
          <p:nvPr/>
        </p:nvGraphicFramePr>
        <p:xfrm>
          <a:off x="9377580" y="3847891"/>
          <a:ext cx="2817595" cy="187839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Rechteck 21">
            <a:extLst>
              <a:ext uri="{FF2B5EF4-FFF2-40B4-BE49-F238E27FC236}">
                <a16:creationId xmlns:a16="http://schemas.microsoft.com/office/drawing/2014/main" id="{71706417-8E69-4FC2-93DB-B53BFED27268}"/>
              </a:ext>
            </a:extLst>
          </p:cNvPr>
          <p:cNvSpPr/>
          <p:nvPr/>
        </p:nvSpPr>
        <p:spPr>
          <a:xfrm>
            <a:off x="10030980" y="4349773"/>
            <a:ext cx="1511548" cy="76944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wrap="square" lIns="144000" rIns="108000" rtlCol="0" anchor="b">
            <a:spAutoFit/>
          </a:bodyPr>
          <a:lstStyle/>
          <a:p>
            <a:pPr algn="ctr"/>
            <a:r>
              <a:rPr lang="de-DE" sz="4400" dirty="0">
                <a:solidFill>
                  <a:schemeClr val="bg1"/>
                </a:solidFill>
                <a:latin typeface="Arial" panose="020B0604020202020204" pitchFamily="34" charset="0"/>
              </a:rPr>
              <a:t>67</a:t>
            </a:r>
            <a:r>
              <a:rPr lang="de-DE" sz="4400" spc="-1000" dirty="0">
                <a:solidFill>
                  <a:schemeClr val="bg1"/>
                </a:solidFill>
                <a:latin typeface="Arial" panose="020B0604020202020204" pitchFamily="34" charset="0"/>
              </a:rPr>
              <a:t> </a:t>
            </a:r>
            <a:r>
              <a:rPr lang="de-DE" dirty="0">
                <a:solidFill>
                  <a:schemeClr val="bg1"/>
                </a:solidFill>
                <a:latin typeface="Arial" panose="020B0604020202020204" pitchFamily="34" charset="0"/>
              </a:rPr>
              <a:t>%</a:t>
            </a:r>
          </a:p>
        </p:txBody>
      </p:sp>
      <p:pic>
        <p:nvPicPr>
          <p:cNvPr id="23" name="Grafik 22">
            <a:extLst>
              <a:ext uri="{FF2B5EF4-FFF2-40B4-BE49-F238E27FC236}">
                <a16:creationId xmlns:a16="http://schemas.microsoft.com/office/drawing/2014/main" id="{8133DDA9-C506-4AC9-8A1B-458DCB0C82F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 flipH="1">
            <a:off x="0" y="1557850"/>
            <a:ext cx="1406816" cy="7540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6119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1" name="Gruppieren 30">
            <a:extLst>
              <a:ext uri="{FF2B5EF4-FFF2-40B4-BE49-F238E27FC236}">
                <a16:creationId xmlns:a16="http://schemas.microsoft.com/office/drawing/2014/main" id="{E0F66AB0-72E1-4050-BA62-07FC0C080CF4}"/>
              </a:ext>
            </a:extLst>
          </p:cNvPr>
          <p:cNvGrpSpPr/>
          <p:nvPr/>
        </p:nvGrpSpPr>
        <p:grpSpPr bwMode="gray">
          <a:xfrm>
            <a:off x="-1" y="1412875"/>
            <a:ext cx="4343810" cy="5442260"/>
            <a:chOff x="-1" y="1412875"/>
            <a:chExt cx="4343810" cy="5442260"/>
          </a:xfrm>
        </p:grpSpPr>
        <p:grpSp>
          <p:nvGrpSpPr>
            <p:cNvPr id="18" name="Gruppieren 17">
              <a:extLst>
                <a:ext uri="{FF2B5EF4-FFF2-40B4-BE49-F238E27FC236}">
                  <a16:creationId xmlns:a16="http://schemas.microsoft.com/office/drawing/2014/main" id="{BA6FCE81-5E78-49AB-9DF8-24E29D291CBF}"/>
                </a:ext>
              </a:extLst>
            </p:cNvPr>
            <p:cNvGrpSpPr/>
            <p:nvPr/>
          </p:nvGrpSpPr>
          <p:grpSpPr bwMode="gray">
            <a:xfrm>
              <a:off x="-1" y="1412875"/>
              <a:ext cx="4343810" cy="5442260"/>
              <a:chOff x="-1" y="1412875"/>
              <a:chExt cx="4343810" cy="5442260"/>
            </a:xfrm>
          </p:grpSpPr>
          <p:sp>
            <p:nvSpPr>
              <p:cNvPr id="17" name="Rechteck 16">
                <a:extLst>
                  <a:ext uri="{FF2B5EF4-FFF2-40B4-BE49-F238E27FC236}">
                    <a16:creationId xmlns:a16="http://schemas.microsoft.com/office/drawing/2014/main" id="{0DE436C4-B4DD-495E-830E-A93F210DFECF}"/>
                  </a:ext>
                </a:extLst>
              </p:cNvPr>
              <p:cNvSpPr/>
              <p:nvPr/>
            </p:nvSpPr>
            <p:spPr bwMode="gray">
              <a:xfrm>
                <a:off x="-1" y="1412875"/>
                <a:ext cx="4343810" cy="5442260"/>
              </a:xfrm>
              <a:prstGeom prst="rect">
                <a:avLst/>
              </a:prstGeom>
              <a:solidFill>
                <a:srgbClr val="E9E9E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  <a:prstTxWarp prst="textNoShape">
                  <a:avLst/>
                </a:prstTxWarp>
                <a:noAutofit/>
              </a:bodyPr>
              <a:lstStyle/>
              <a:p>
                <a:pPr marL="0" indent="0" algn="l">
                  <a:spcBef>
                    <a:spcPts val="600"/>
                  </a:spcBef>
                  <a:buClr>
                    <a:schemeClr val="accent1"/>
                  </a:buClr>
                  <a:buFontTx/>
                  <a:buNone/>
                </a:pPr>
                <a:endParaRPr lang="de-DE" sz="140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40" name="Titel 2">
                <a:extLst>
                  <a:ext uri="{FF2B5EF4-FFF2-40B4-BE49-F238E27FC236}">
                    <a16:creationId xmlns:a16="http://schemas.microsoft.com/office/drawing/2014/main" id="{797DBDB8-B2F0-46B4-A476-DC265A7C716D}"/>
                  </a:ext>
                </a:extLst>
              </p:cNvPr>
              <p:cNvSpPr txBox="1">
                <a:spLocks/>
              </p:cNvSpPr>
              <p:nvPr/>
            </p:nvSpPr>
            <p:spPr bwMode="gray">
              <a:xfrm>
                <a:off x="409576" y="2951237"/>
                <a:ext cx="2677863" cy="2400657"/>
              </a:xfrm>
              <a:prstGeom prst="rect">
                <a:avLst/>
              </a:prstGeom>
            </p:spPr>
            <p:txBody>
              <a:bodyPr vert="horz" wrap="square" lIns="0" tIns="0" rIns="0" bIns="0" rtlCol="0" anchor="t">
                <a:spAutoFit/>
              </a:bodyPr>
              <a:lstStyle>
                <a:lvl1pPr algn="l" defTabSz="914400" rtl="0" eaLnBrk="1" latinLnBrk="0" hangingPunct="1">
                  <a:spcBef>
                    <a:spcPct val="0"/>
                  </a:spcBef>
                  <a:buNone/>
                  <a:defRPr lang="de-DE" sz="2600" b="1" kern="1200" dirty="0" smtClean="0">
                    <a:solidFill>
                      <a:schemeClr val="tx2"/>
                    </a:solidFill>
                    <a:latin typeface="+mj-lt"/>
                    <a:ea typeface="+mj-ea"/>
                    <a:cs typeface="+mj-cs"/>
                  </a:defRPr>
                </a:lvl1pPr>
              </a:lstStyle>
              <a:p>
                <a:r>
                  <a:rPr lang="de-DE" b="0" dirty="0"/>
                  <a:t>Geographische Verteilung und NH-regulatorische Betroffenheit des Immobilien-vermögens</a:t>
                </a:r>
              </a:p>
            </p:txBody>
          </p:sp>
        </p:grpSp>
        <p:grpSp>
          <p:nvGrpSpPr>
            <p:cNvPr id="48" name="Group 106">
              <a:extLst>
                <a:ext uri="{FF2B5EF4-FFF2-40B4-BE49-F238E27FC236}">
                  <a16:creationId xmlns:a16="http://schemas.microsoft.com/office/drawing/2014/main" id="{84EC9540-9DD5-4FAD-B639-5795AB919B9D}"/>
                </a:ext>
              </a:extLst>
            </p:cNvPr>
            <p:cNvGrpSpPr>
              <a:grpSpLocks noChangeAspect="1"/>
            </p:cNvGrpSpPr>
            <p:nvPr/>
          </p:nvGrpSpPr>
          <p:grpSpPr bwMode="gray">
            <a:xfrm>
              <a:off x="409575" y="1870356"/>
              <a:ext cx="791468" cy="791956"/>
              <a:chOff x="1171" y="1442"/>
              <a:chExt cx="1623" cy="1624"/>
            </a:xfrm>
          </p:grpSpPr>
          <p:sp>
            <p:nvSpPr>
              <p:cNvPr id="50" name="Freeform 107">
                <a:extLst>
                  <a:ext uri="{FF2B5EF4-FFF2-40B4-BE49-F238E27FC236}">
                    <a16:creationId xmlns:a16="http://schemas.microsoft.com/office/drawing/2014/main" id="{537CDC95-14D5-40E9-9F25-ED8304BC2426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794" y="1544"/>
                <a:ext cx="898" cy="972"/>
              </a:xfrm>
              <a:custGeom>
                <a:avLst/>
                <a:gdLst>
                  <a:gd name="T0" fmla="*/ 2579 w 3138"/>
                  <a:gd name="T1" fmla="*/ 1949 h 3395"/>
                  <a:gd name="T2" fmla="*/ 3129 w 3138"/>
                  <a:gd name="T3" fmla="*/ 1949 h 3395"/>
                  <a:gd name="T4" fmla="*/ 3138 w 3138"/>
                  <a:gd name="T5" fmla="*/ 1771 h 3395"/>
                  <a:gd name="T6" fmla="*/ 3129 w 3138"/>
                  <a:gd name="T7" fmla="*/ 1594 h 3395"/>
                  <a:gd name="T8" fmla="*/ 2579 w 3138"/>
                  <a:gd name="T9" fmla="*/ 1594 h 3395"/>
                  <a:gd name="T10" fmla="*/ 2465 w 3138"/>
                  <a:gd name="T11" fmla="*/ 842 h 3395"/>
                  <a:gd name="T12" fmla="*/ 2733 w 3138"/>
                  <a:gd name="T13" fmla="*/ 644 h 3395"/>
                  <a:gd name="T14" fmla="*/ 2480 w 3138"/>
                  <a:gd name="T15" fmla="*/ 395 h 3395"/>
                  <a:gd name="T16" fmla="*/ 2346 w 3138"/>
                  <a:gd name="T17" fmla="*/ 495 h 3395"/>
                  <a:gd name="T18" fmla="*/ 2199 w 3138"/>
                  <a:gd name="T19" fmla="*/ 208 h 3395"/>
                  <a:gd name="T20" fmla="*/ 1367 w 3138"/>
                  <a:gd name="T21" fmla="*/ 0 h 3395"/>
                  <a:gd name="T22" fmla="*/ 538 w 3138"/>
                  <a:gd name="T23" fmla="*/ 204 h 3395"/>
                  <a:gd name="T24" fmla="*/ 388 w 3138"/>
                  <a:gd name="T25" fmla="*/ 497 h 3395"/>
                  <a:gd name="T26" fmla="*/ 252 w 3138"/>
                  <a:gd name="T27" fmla="*/ 394 h 3395"/>
                  <a:gd name="T28" fmla="*/ 0 w 3138"/>
                  <a:gd name="T29" fmla="*/ 644 h 3395"/>
                  <a:gd name="T30" fmla="*/ 268 w 3138"/>
                  <a:gd name="T31" fmla="*/ 843 h 3395"/>
                  <a:gd name="T32" fmla="*/ 218 w 3138"/>
                  <a:gd name="T33" fmla="*/ 1063 h 3395"/>
                  <a:gd name="T34" fmla="*/ 582 w 3138"/>
                  <a:gd name="T35" fmla="*/ 1063 h 3395"/>
                  <a:gd name="T36" fmla="*/ 592 w 3138"/>
                  <a:gd name="T37" fmla="*/ 1012 h 3395"/>
                  <a:gd name="T38" fmla="*/ 728 w 3138"/>
                  <a:gd name="T39" fmla="*/ 1063 h 3395"/>
                  <a:gd name="T40" fmla="*/ 2004 w 3138"/>
                  <a:gd name="T41" fmla="*/ 1063 h 3395"/>
                  <a:gd name="T42" fmla="*/ 2143 w 3138"/>
                  <a:gd name="T43" fmla="*/ 1010 h 3395"/>
                  <a:gd name="T44" fmla="*/ 2224 w 3138"/>
                  <a:gd name="T45" fmla="*/ 1594 h 3395"/>
                  <a:gd name="T46" fmla="*/ 2075 w 3138"/>
                  <a:gd name="T47" fmla="*/ 1594 h 3395"/>
                  <a:gd name="T48" fmla="*/ 2075 w 3138"/>
                  <a:gd name="T49" fmla="*/ 1949 h 3395"/>
                  <a:gd name="T50" fmla="*/ 2224 w 3138"/>
                  <a:gd name="T51" fmla="*/ 1949 h 3395"/>
                  <a:gd name="T52" fmla="*/ 2154 w 3138"/>
                  <a:gd name="T53" fmla="*/ 2473 h 3395"/>
                  <a:gd name="T54" fmla="*/ 2075 w 3138"/>
                  <a:gd name="T55" fmla="*/ 2441 h 3395"/>
                  <a:gd name="T56" fmla="*/ 2075 w 3138"/>
                  <a:gd name="T57" fmla="*/ 3395 h 3395"/>
                  <a:gd name="T58" fmla="*/ 2197 w 3138"/>
                  <a:gd name="T59" fmla="*/ 3336 h 3395"/>
                  <a:gd name="T60" fmla="*/ 2366 w 3138"/>
                  <a:gd name="T61" fmla="*/ 2997 h 3395"/>
                  <a:gd name="T62" fmla="*/ 2518 w 3138"/>
                  <a:gd name="T63" fmla="*/ 3118 h 3395"/>
                  <a:gd name="T64" fmla="*/ 2765 w 3138"/>
                  <a:gd name="T65" fmla="*/ 2861 h 3395"/>
                  <a:gd name="T66" fmla="*/ 2479 w 3138"/>
                  <a:gd name="T67" fmla="*/ 2645 h 3395"/>
                  <a:gd name="T68" fmla="*/ 2579 w 3138"/>
                  <a:gd name="T69" fmla="*/ 1949 h 3395"/>
                  <a:gd name="T70" fmla="*/ 1189 w 3138"/>
                  <a:gd name="T71" fmla="*/ 804 h 3395"/>
                  <a:gd name="T72" fmla="*/ 699 w 3138"/>
                  <a:gd name="T73" fmla="*/ 672 h 3395"/>
                  <a:gd name="T74" fmla="*/ 1189 w 3138"/>
                  <a:gd name="T75" fmla="*/ 43 h 3395"/>
                  <a:gd name="T76" fmla="*/ 1189 w 3138"/>
                  <a:gd name="T77" fmla="*/ 804 h 3395"/>
                  <a:gd name="T78" fmla="*/ 1544 w 3138"/>
                  <a:gd name="T79" fmla="*/ 804 h 3395"/>
                  <a:gd name="T80" fmla="*/ 1544 w 3138"/>
                  <a:gd name="T81" fmla="*/ 43 h 3395"/>
                  <a:gd name="T82" fmla="*/ 2036 w 3138"/>
                  <a:gd name="T83" fmla="*/ 670 h 3395"/>
                  <a:gd name="T84" fmla="*/ 1544 w 3138"/>
                  <a:gd name="T85" fmla="*/ 804 h 3395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  <a:cxn ang="0">
                    <a:pos x="T74" y="T75"/>
                  </a:cxn>
                  <a:cxn ang="0">
                    <a:pos x="T76" y="T77"/>
                  </a:cxn>
                  <a:cxn ang="0">
                    <a:pos x="T78" y="T79"/>
                  </a:cxn>
                  <a:cxn ang="0">
                    <a:pos x="T80" y="T81"/>
                  </a:cxn>
                  <a:cxn ang="0">
                    <a:pos x="T82" y="T83"/>
                  </a:cxn>
                  <a:cxn ang="0">
                    <a:pos x="T84" y="T85"/>
                  </a:cxn>
                </a:cxnLst>
                <a:rect l="0" t="0" r="r" b="b"/>
                <a:pathLst>
                  <a:path w="3138" h="3395">
                    <a:moveTo>
                      <a:pt x="2579" y="1949"/>
                    </a:moveTo>
                    <a:cubicBezTo>
                      <a:pt x="3129" y="1949"/>
                      <a:pt x="3129" y="1949"/>
                      <a:pt x="3129" y="1949"/>
                    </a:cubicBezTo>
                    <a:cubicBezTo>
                      <a:pt x="3134" y="1890"/>
                      <a:pt x="3138" y="1831"/>
                      <a:pt x="3138" y="1771"/>
                    </a:cubicBezTo>
                    <a:cubicBezTo>
                      <a:pt x="3138" y="1712"/>
                      <a:pt x="3135" y="1652"/>
                      <a:pt x="3129" y="1594"/>
                    </a:cubicBezTo>
                    <a:cubicBezTo>
                      <a:pt x="2579" y="1594"/>
                      <a:pt x="2579" y="1594"/>
                      <a:pt x="2579" y="1594"/>
                    </a:cubicBezTo>
                    <a:cubicBezTo>
                      <a:pt x="2567" y="1325"/>
                      <a:pt x="2527" y="1072"/>
                      <a:pt x="2465" y="842"/>
                    </a:cubicBezTo>
                    <a:cubicBezTo>
                      <a:pt x="2558" y="784"/>
                      <a:pt x="2647" y="717"/>
                      <a:pt x="2733" y="644"/>
                    </a:cubicBezTo>
                    <a:cubicBezTo>
                      <a:pt x="2657" y="553"/>
                      <a:pt x="2572" y="469"/>
                      <a:pt x="2480" y="395"/>
                    </a:cubicBezTo>
                    <a:cubicBezTo>
                      <a:pt x="2436" y="430"/>
                      <a:pt x="2391" y="464"/>
                      <a:pt x="2346" y="495"/>
                    </a:cubicBezTo>
                    <a:cubicBezTo>
                      <a:pt x="2302" y="392"/>
                      <a:pt x="2253" y="296"/>
                      <a:pt x="2199" y="208"/>
                    </a:cubicBezTo>
                    <a:cubicBezTo>
                      <a:pt x="1950" y="75"/>
                      <a:pt x="1667" y="0"/>
                      <a:pt x="1367" y="0"/>
                    </a:cubicBezTo>
                    <a:cubicBezTo>
                      <a:pt x="1069" y="0"/>
                      <a:pt x="787" y="73"/>
                      <a:pt x="538" y="204"/>
                    </a:cubicBezTo>
                    <a:cubicBezTo>
                      <a:pt x="483" y="293"/>
                      <a:pt x="433" y="391"/>
                      <a:pt x="388" y="497"/>
                    </a:cubicBezTo>
                    <a:cubicBezTo>
                      <a:pt x="341" y="465"/>
                      <a:pt x="296" y="430"/>
                      <a:pt x="252" y="394"/>
                    </a:cubicBezTo>
                    <a:cubicBezTo>
                      <a:pt x="160" y="468"/>
                      <a:pt x="75" y="552"/>
                      <a:pt x="0" y="644"/>
                    </a:cubicBezTo>
                    <a:cubicBezTo>
                      <a:pt x="86" y="718"/>
                      <a:pt x="175" y="785"/>
                      <a:pt x="268" y="843"/>
                    </a:cubicBezTo>
                    <a:cubicBezTo>
                      <a:pt x="249" y="914"/>
                      <a:pt x="233" y="988"/>
                      <a:pt x="218" y="1063"/>
                    </a:cubicBezTo>
                    <a:cubicBezTo>
                      <a:pt x="582" y="1063"/>
                      <a:pt x="582" y="1063"/>
                      <a:pt x="582" y="1063"/>
                    </a:cubicBezTo>
                    <a:cubicBezTo>
                      <a:pt x="585" y="1046"/>
                      <a:pt x="588" y="1028"/>
                      <a:pt x="592" y="1012"/>
                    </a:cubicBezTo>
                    <a:cubicBezTo>
                      <a:pt x="637" y="1031"/>
                      <a:pt x="682" y="1047"/>
                      <a:pt x="728" y="1063"/>
                    </a:cubicBezTo>
                    <a:cubicBezTo>
                      <a:pt x="2004" y="1063"/>
                      <a:pt x="2004" y="1063"/>
                      <a:pt x="2004" y="1063"/>
                    </a:cubicBezTo>
                    <a:cubicBezTo>
                      <a:pt x="2051" y="1047"/>
                      <a:pt x="2097" y="1030"/>
                      <a:pt x="2143" y="1010"/>
                    </a:cubicBezTo>
                    <a:cubicBezTo>
                      <a:pt x="2185" y="1187"/>
                      <a:pt x="2214" y="1382"/>
                      <a:pt x="2224" y="1594"/>
                    </a:cubicBezTo>
                    <a:cubicBezTo>
                      <a:pt x="2075" y="1594"/>
                      <a:pt x="2075" y="1594"/>
                      <a:pt x="2075" y="1594"/>
                    </a:cubicBezTo>
                    <a:cubicBezTo>
                      <a:pt x="2075" y="1949"/>
                      <a:pt x="2075" y="1949"/>
                      <a:pt x="2075" y="1949"/>
                    </a:cubicBezTo>
                    <a:cubicBezTo>
                      <a:pt x="2224" y="1949"/>
                      <a:pt x="2224" y="1949"/>
                      <a:pt x="2224" y="1949"/>
                    </a:cubicBezTo>
                    <a:cubicBezTo>
                      <a:pt x="2214" y="2130"/>
                      <a:pt x="2191" y="2307"/>
                      <a:pt x="2154" y="2473"/>
                    </a:cubicBezTo>
                    <a:cubicBezTo>
                      <a:pt x="2128" y="2462"/>
                      <a:pt x="2102" y="2451"/>
                      <a:pt x="2075" y="2441"/>
                    </a:cubicBezTo>
                    <a:cubicBezTo>
                      <a:pt x="2075" y="3395"/>
                      <a:pt x="2075" y="3395"/>
                      <a:pt x="2075" y="3395"/>
                    </a:cubicBezTo>
                    <a:cubicBezTo>
                      <a:pt x="2117" y="3376"/>
                      <a:pt x="2157" y="3357"/>
                      <a:pt x="2197" y="3336"/>
                    </a:cubicBezTo>
                    <a:cubicBezTo>
                      <a:pt x="2260" y="3233"/>
                      <a:pt x="2318" y="3120"/>
                      <a:pt x="2366" y="2997"/>
                    </a:cubicBezTo>
                    <a:cubicBezTo>
                      <a:pt x="2419" y="3034"/>
                      <a:pt x="2469" y="3075"/>
                      <a:pt x="2518" y="3118"/>
                    </a:cubicBezTo>
                    <a:cubicBezTo>
                      <a:pt x="2609" y="3041"/>
                      <a:pt x="2692" y="2955"/>
                      <a:pt x="2765" y="2861"/>
                    </a:cubicBezTo>
                    <a:cubicBezTo>
                      <a:pt x="2674" y="2781"/>
                      <a:pt x="2578" y="2709"/>
                      <a:pt x="2479" y="2645"/>
                    </a:cubicBezTo>
                    <a:cubicBezTo>
                      <a:pt x="2533" y="2427"/>
                      <a:pt x="2567" y="2192"/>
                      <a:pt x="2579" y="1949"/>
                    </a:cubicBezTo>
                    <a:close/>
                    <a:moveTo>
                      <a:pt x="1189" y="804"/>
                    </a:moveTo>
                    <a:cubicBezTo>
                      <a:pt x="1022" y="786"/>
                      <a:pt x="857" y="741"/>
                      <a:pt x="699" y="672"/>
                    </a:cubicBezTo>
                    <a:cubicBezTo>
                      <a:pt x="825" y="359"/>
                      <a:pt x="999" y="132"/>
                      <a:pt x="1189" y="43"/>
                    </a:cubicBezTo>
                    <a:lnTo>
                      <a:pt x="1189" y="804"/>
                    </a:lnTo>
                    <a:close/>
                    <a:moveTo>
                      <a:pt x="1544" y="804"/>
                    </a:moveTo>
                    <a:cubicBezTo>
                      <a:pt x="1544" y="43"/>
                      <a:pt x="1544" y="43"/>
                      <a:pt x="1544" y="43"/>
                    </a:cubicBezTo>
                    <a:cubicBezTo>
                      <a:pt x="1730" y="130"/>
                      <a:pt x="1908" y="350"/>
                      <a:pt x="2036" y="670"/>
                    </a:cubicBezTo>
                    <a:cubicBezTo>
                      <a:pt x="1878" y="740"/>
                      <a:pt x="1712" y="786"/>
                      <a:pt x="1544" y="804"/>
                    </a:cubicBez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1" name="Freeform 108">
                <a:extLst>
                  <a:ext uri="{FF2B5EF4-FFF2-40B4-BE49-F238E27FC236}">
                    <a16:creationId xmlns:a16="http://schemas.microsoft.com/office/drawing/2014/main" id="{DBDE10F0-1D57-4F9F-BCBF-2596EE88A2C0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35" y="2497"/>
                <a:ext cx="350" cy="377"/>
              </a:xfrm>
              <a:custGeom>
                <a:avLst/>
                <a:gdLst>
                  <a:gd name="T0" fmla="*/ 259 w 350"/>
                  <a:gd name="T1" fmla="*/ 305 h 377"/>
                  <a:gd name="T2" fmla="*/ 194 w 350"/>
                  <a:gd name="T3" fmla="*/ 239 h 377"/>
                  <a:gd name="T4" fmla="*/ 350 w 350"/>
                  <a:gd name="T5" fmla="*/ 239 h 377"/>
                  <a:gd name="T6" fmla="*/ 350 w 350"/>
                  <a:gd name="T7" fmla="*/ 138 h 377"/>
                  <a:gd name="T8" fmla="*/ 194 w 350"/>
                  <a:gd name="T9" fmla="*/ 138 h 377"/>
                  <a:gd name="T10" fmla="*/ 259 w 350"/>
                  <a:gd name="T11" fmla="*/ 72 h 377"/>
                  <a:gd name="T12" fmla="*/ 188 w 350"/>
                  <a:gd name="T13" fmla="*/ 0 h 377"/>
                  <a:gd name="T14" fmla="*/ 0 w 350"/>
                  <a:gd name="T15" fmla="*/ 188 h 377"/>
                  <a:gd name="T16" fmla="*/ 188 w 350"/>
                  <a:gd name="T17" fmla="*/ 377 h 377"/>
                  <a:gd name="T18" fmla="*/ 259 w 350"/>
                  <a:gd name="T19" fmla="*/ 305 h 377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50" h="377">
                    <a:moveTo>
                      <a:pt x="259" y="305"/>
                    </a:moveTo>
                    <a:lnTo>
                      <a:pt x="194" y="239"/>
                    </a:lnTo>
                    <a:lnTo>
                      <a:pt x="350" y="239"/>
                    </a:lnTo>
                    <a:lnTo>
                      <a:pt x="350" y="138"/>
                    </a:lnTo>
                    <a:lnTo>
                      <a:pt x="194" y="138"/>
                    </a:lnTo>
                    <a:lnTo>
                      <a:pt x="259" y="72"/>
                    </a:lnTo>
                    <a:lnTo>
                      <a:pt x="188" y="0"/>
                    </a:lnTo>
                    <a:lnTo>
                      <a:pt x="0" y="188"/>
                    </a:lnTo>
                    <a:lnTo>
                      <a:pt x="188" y="377"/>
                    </a:lnTo>
                    <a:lnTo>
                      <a:pt x="259" y="305"/>
                    </a:ln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3" name="Freeform 109">
                <a:extLst>
                  <a:ext uri="{FF2B5EF4-FFF2-40B4-BE49-F238E27FC236}">
                    <a16:creationId xmlns:a16="http://schemas.microsoft.com/office/drawing/2014/main" id="{338D9662-0208-4EAB-91B1-4F644FA7FC4B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63" y="2508"/>
                <a:ext cx="376" cy="376"/>
              </a:xfrm>
              <a:custGeom>
                <a:avLst/>
                <a:gdLst>
                  <a:gd name="T0" fmla="*/ 376 w 376"/>
                  <a:gd name="T1" fmla="*/ 188 h 376"/>
                  <a:gd name="T2" fmla="*/ 305 w 376"/>
                  <a:gd name="T3" fmla="*/ 116 h 376"/>
                  <a:gd name="T4" fmla="*/ 239 w 376"/>
                  <a:gd name="T5" fmla="*/ 182 h 376"/>
                  <a:gd name="T6" fmla="*/ 239 w 376"/>
                  <a:gd name="T7" fmla="*/ 0 h 376"/>
                  <a:gd name="T8" fmla="*/ 138 w 376"/>
                  <a:gd name="T9" fmla="*/ 0 h 376"/>
                  <a:gd name="T10" fmla="*/ 138 w 376"/>
                  <a:gd name="T11" fmla="*/ 182 h 376"/>
                  <a:gd name="T12" fmla="*/ 72 w 376"/>
                  <a:gd name="T13" fmla="*/ 116 h 376"/>
                  <a:gd name="T14" fmla="*/ 0 w 376"/>
                  <a:gd name="T15" fmla="*/ 188 h 376"/>
                  <a:gd name="T16" fmla="*/ 188 w 376"/>
                  <a:gd name="T17" fmla="*/ 376 h 376"/>
                  <a:gd name="T18" fmla="*/ 376 w 376"/>
                  <a:gd name="T19" fmla="*/ 188 h 376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376" h="376">
                    <a:moveTo>
                      <a:pt x="376" y="188"/>
                    </a:moveTo>
                    <a:lnTo>
                      <a:pt x="305" y="116"/>
                    </a:lnTo>
                    <a:lnTo>
                      <a:pt x="239" y="182"/>
                    </a:lnTo>
                    <a:lnTo>
                      <a:pt x="239" y="0"/>
                    </a:lnTo>
                    <a:lnTo>
                      <a:pt x="138" y="0"/>
                    </a:lnTo>
                    <a:lnTo>
                      <a:pt x="138" y="182"/>
                    </a:lnTo>
                    <a:lnTo>
                      <a:pt x="72" y="116"/>
                    </a:lnTo>
                    <a:lnTo>
                      <a:pt x="0" y="188"/>
                    </a:lnTo>
                    <a:lnTo>
                      <a:pt x="188" y="376"/>
                    </a:lnTo>
                    <a:lnTo>
                      <a:pt x="376" y="188"/>
                    </a:ln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4" name="Freeform 110">
                <a:extLst>
                  <a:ext uri="{FF2B5EF4-FFF2-40B4-BE49-F238E27FC236}">
                    <a16:creationId xmlns:a16="http://schemas.microsoft.com/office/drawing/2014/main" id="{6EDCC859-34E0-433A-B4EB-7357563CE5A4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896" y="2051"/>
                <a:ext cx="289" cy="290"/>
              </a:xfrm>
              <a:custGeom>
                <a:avLst/>
                <a:gdLst>
                  <a:gd name="T0" fmla="*/ 72 w 289"/>
                  <a:gd name="T1" fmla="*/ 290 h 290"/>
                  <a:gd name="T2" fmla="*/ 188 w 289"/>
                  <a:gd name="T3" fmla="*/ 173 h 290"/>
                  <a:gd name="T4" fmla="*/ 188 w 289"/>
                  <a:gd name="T5" fmla="*/ 254 h 290"/>
                  <a:gd name="T6" fmla="*/ 289 w 289"/>
                  <a:gd name="T7" fmla="*/ 254 h 290"/>
                  <a:gd name="T8" fmla="*/ 289 w 289"/>
                  <a:gd name="T9" fmla="*/ 0 h 290"/>
                  <a:gd name="T10" fmla="*/ 36 w 289"/>
                  <a:gd name="T11" fmla="*/ 0 h 290"/>
                  <a:gd name="T12" fmla="*/ 36 w 289"/>
                  <a:gd name="T13" fmla="*/ 102 h 290"/>
                  <a:gd name="T14" fmla="*/ 116 w 289"/>
                  <a:gd name="T15" fmla="*/ 102 h 290"/>
                  <a:gd name="T16" fmla="*/ 0 w 289"/>
                  <a:gd name="T17" fmla="*/ 218 h 290"/>
                  <a:gd name="T18" fmla="*/ 72 w 289"/>
                  <a:gd name="T19" fmla="*/ 290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9" h="290">
                    <a:moveTo>
                      <a:pt x="72" y="290"/>
                    </a:moveTo>
                    <a:lnTo>
                      <a:pt x="188" y="173"/>
                    </a:lnTo>
                    <a:lnTo>
                      <a:pt x="188" y="254"/>
                    </a:lnTo>
                    <a:lnTo>
                      <a:pt x="289" y="254"/>
                    </a:lnTo>
                    <a:lnTo>
                      <a:pt x="289" y="0"/>
                    </a:lnTo>
                    <a:lnTo>
                      <a:pt x="36" y="0"/>
                    </a:lnTo>
                    <a:lnTo>
                      <a:pt x="36" y="102"/>
                    </a:lnTo>
                    <a:lnTo>
                      <a:pt x="116" y="102"/>
                    </a:lnTo>
                    <a:lnTo>
                      <a:pt x="0" y="218"/>
                    </a:lnTo>
                    <a:lnTo>
                      <a:pt x="72" y="290"/>
                    </a:ln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5" name="Freeform 111">
                <a:extLst>
                  <a:ext uri="{FF2B5EF4-FFF2-40B4-BE49-F238E27FC236}">
                    <a16:creationId xmlns:a16="http://schemas.microsoft.com/office/drawing/2014/main" id="{A4D78BFF-3983-4393-BDD7-5AD4497E4A7F}"/>
                  </a:ext>
                </a:extLst>
              </p:cNvPr>
              <p:cNvSpPr>
                <a:spLocks/>
              </p:cNvSpPr>
              <p:nvPr/>
            </p:nvSpPr>
            <p:spPr bwMode="gray">
              <a:xfrm>
                <a:off x="1374" y="2051"/>
                <a:ext cx="289" cy="290"/>
              </a:xfrm>
              <a:custGeom>
                <a:avLst/>
                <a:gdLst>
                  <a:gd name="T0" fmla="*/ 101 w 289"/>
                  <a:gd name="T1" fmla="*/ 173 h 290"/>
                  <a:gd name="T2" fmla="*/ 218 w 289"/>
                  <a:gd name="T3" fmla="*/ 290 h 290"/>
                  <a:gd name="T4" fmla="*/ 289 w 289"/>
                  <a:gd name="T5" fmla="*/ 218 h 290"/>
                  <a:gd name="T6" fmla="*/ 173 w 289"/>
                  <a:gd name="T7" fmla="*/ 102 h 290"/>
                  <a:gd name="T8" fmla="*/ 254 w 289"/>
                  <a:gd name="T9" fmla="*/ 102 h 290"/>
                  <a:gd name="T10" fmla="*/ 254 w 289"/>
                  <a:gd name="T11" fmla="*/ 0 h 290"/>
                  <a:gd name="T12" fmla="*/ 0 w 289"/>
                  <a:gd name="T13" fmla="*/ 0 h 290"/>
                  <a:gd name="T14" fmla="*/ 0 w 289"/>
                  <a:gd name="T15" fmla="*/ 254 h 290"/>
                  <a:gd name="T16" fmla="*/ 101 w 289"/>
                  <a:gd name="T17" fmla="*/ 254 h 290"/>
                  <a:gd name="T18" fmla="*/ 101 w 289"/>
                  <a:gd name="T19" fmla="*/ 173 h 29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</a:cxnLst>
                <a:rect l="0" t="0" r="r" b="b"/>
                <a:pathLst>
                  <a:path w="289" h="290">
                    <a:moveTo>
                      <a:pt x="101" y="173"/>
                    </a:moveTo>
                    <a:lnTo>
                      <a:pt x="218" y="290"/>
                    </a:lnTo>
                    <a:lnTo>
                      <a:pt x="289" y="218"/>
                    </a:lnTo>
                    <a:lnTo>
                      <a:pt x="173" y="102"/>
                    </a:lnTo>
                    <a:lnTo>
                      <a:pt x="254" y="102"/>
                    </a:lnTo>
                    <a:lnTo>
                      <a:pt x="254" y="0"/>
                    </a:lnTo>
                    <a:lnTo>
                      <a:pt x="0" y="0"/>
                    </a:lnTo>
                    <a:lnTo>
                      <a:pt x="0" y="254"/>
                    </a:lnTo>
                    <a:lnTo>
                      <a:pt x="101" y="254"/>
                    </a:lnTo>
                    <a:lnTo>
                      <a:pt x="101" y="173"/>
                    </a:lnTo>
                    <a:close/>
                  </a:path>
                </a:pathLst>
              </a:custGeom>
              <a:solidFill>
                <a:srgbClr val="43B02A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  <p:sp>
            <p:nvSpPr>
              <p:cNvPr id="57" name="Freeform 112">
                <a:extLst>
                  <a:ext uri="{FF2B5EF4-FFF2-40B4-BE49-F238E27FC236}">
                    <a16:creationId xmlns:a16="http://schemas.microsoft.com/office/drawing/2014/main" id="{FCBB3EC5-CD5E-4611-8B95-B22DD12F942D}"/>
                  </a:ext>
                </a:extLst>
              </p:cNvPr>
              <p:cNvSpPr>
                <a:spLocks noEditPoints="1"/>
              </p:cNvSpPr>
              <p:nvPr/>
            </p:nvSpPr>
            <p:spPr bwMode="gray">
              <a:xfrm>
                <a:off x="1171" y="1442"/>
                <a:ext cx="1623" cy="1624"/>
              </a:xfrm>
              <a:custGeom>
                <a:avLst/>
                <a:gdLst>
                  <a:gd name="T0" fmla="*/ 3544 w 5670"/>
                  <a:gd name="T1" fmla="*/ 0 h 5670"/>
                  <a:gd name="T2" fmla="*/ 1541 w 5670"/>
                  <a:gd name="T3" fmla="*/ 1418 h 5670"/>
                  <a:gd name="T4" fmla="*/ 0 w 5670"/>
                  <a:gd name="T5" fmla="*/ 1418 h 5670"/>
                  <a:gd name="T6" fmla="*/ 0 w 5670"/>
                  <a:gd name="T7" fmla="*/ 5670 h 5670"/>
                  <a:gd name="T8" fmla="*/ 4252 w 5670"/>
                  <a:gd name="T9" fmla="*/ 5670 h 5670"/>
                  <a:gd name="T10" fmla="*/ 4252 w 5670"/>
                  <a:gd name="T11" fmla="*/ 4130 h 5670"/>
                  <a:gd name="T12" fmla="*/ 5670 w 5670"/>
                  <a:gd name="T13" fmla="*/ 2126 h 5670"/>
                  <a:gd name="T14" fmla="*/ 3544 w 5670"/>
                  <a:gd name="T15" fmla="*/ 0 h 5670"/>
                  <a:gd name="T16" fmla="*/ 3898 w 5670"/>
                  <a:gd name="T17" fmla="*/ 5315 h 5670"/>
                  <a:gd name="T18" fmla="*/ 355 w 5670"/>
                  <a:gd name="T19" fmla="*/ 5315 h 5670"/>
                  <a:gd name="T20" fmla="*/ 355 w 5670"/>
                  <a:gd name="T21" fmla="*/ 1772 h 5670"/>
                  <a:gd name="T22" fmla="*/ 3898 w 5670"/>
                  <a:gd name="T23" fmla="*/ 1772 h 5670"/>
                  <a:gd name="T24" fmla="*/ 3898 w 5670"/>
                  <a:gd name="T25" fmla="*/ 5315 h 5670"/>
                  <a:gd name="T26" fmla="*/ 4942 w 5670"/>
                  <a:gd name="T27" fmla="*/ 3216 h 5670"/>
                  <a:gd name="T28" fmla="*/ 4695 w 5670"/>
                  <a:gd name="T29" fmla="*/ 3473 h 5670"/>
                  <a:gd name="T30" fmla="*/ 4374 w 5670"/>
                  <a:gd name="T31" fmla="*/ 3691 h 5670"/>
                  <a:gd name="T32" fmla="*/ 4252 w 5670"/>
                  <a:gd name="T33" fmla="*/ 3750 h 5670"/>
                  <a:gd name="T34" fmla="*/ 4252 w 5670"/>
                  <a:gd name="T35" fmla="*/ 2796 h 5670"/>
                  <a:gd name="T36" fmla="*/ 4252 w 5670"/>
                  <a:gd name="T37" fmla="*/ 2304 h 5670"/>
                  <a:gd name="T38" fmla="*/ 4252 w 5670"/>
                  <a:gd name="T39" fmla="*/ 1949 h 5670"/>
                  <a:gd name="T40" fmla="*/ 4252 w 5670"/>
                  <a:gd name="T41" fmla="*/ 1418 h 5670"/>
                  <a:gd name="T42" fmla="*/ 4181 w 5670"/>
                  <a:gd name="T43" fmla="*/ 1418 h 5670"/>
                  <a:gd name="T44" fmla="*/ 2905 w 5670"/>
                  <a:gd name="T45" fmla="*/ 1418 h 5670"/>
                  <a:gd name="T46" fmla="*/ 2759 w 5670"/>
                  <a:gd name="T47" fmla="*/ 1418 h 5670"/>
                  <a:gd name="T48" fmla="*/ 2395 w 5670"/>
                  <a:gd name="T49" fmla="*/ 1418 h 5670"/>
                  <a:gd name="T50" fmla="*/ 1921 w 5670"/>
                  <a:gd name="T51" fmla="*/ 1418 h 5670"/>
                  <a:gd name="T52" fmla="*/ 2177 w 5670"/>
                  <a:gd name="T53" fmla="*/ 999 h 5670"/>
                  <a:gd name="T54" fmla="*/ 2429 w 5670"/>
                  <a:gd name="T55" fmla="*/ 749 h 5670"/>
                  <a:gd name="T56" fmla="*/ 2715 w 5670"/>
                  <a:gd name="T57" fmla="*/ 559 h 5670"/>
                  <a:gd name="T58" fmla="*/ 3544 w 5670"/>
                  <a:gd name="T59" fmla="*/ 355 h 5670"/>
                  <a:gd name="T60" fmla="*/ 4376 w 5670"/>
                  <a:gd name="T61" fmla="*/ 563 h 5670"/>
                  <a:gd name="T62" fmla="*/ 4657 w 5670"/>
                  <a:gd name="T63" fmla="*/ 750 h 5670"/>
                  <a:gd name="T64" fmla="*/ 4910 w 5670"/>
                  <a:gd name="T65" fmla="*/ 999 h 5670"/>
                  <a:gd name="T66" fmla="*/ 5306 w 5670"/>
                  <a:gd name="T67" fmla="*/ 1949 h 5670"/>
                  <a:gd name="T68" fmla="*/ 5315 w 5670"/>
                  <a:gd name="T69" fmla="*/ 2126 h 5670"/>
                  <a:gd name="T70" fmla="*/ 5306 w 5670"/>
                  <a:gd name="T71" fmla="*/ 2304 h 5670"/>
                  <a:gd name="T72" fmla="*/ 4942 w 5670"/>
                  <a:gd name="T73" fmla="*/ 3216 h 5670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  <a:cxn ang="0">
                    <a:pos x="T24" y="T25"/>
                  </a:cxn>
                  <a:cxn ang="0">
                    <a:pos x="T26" y="T27"/>
                  </a:cxn>
                  <a:cxn ang="0">
                    <a:pos x="T28" y="T29"/>
                  </a:cxn>
                  <a:cxn ang="0">
                    <a:pos x="T30" y="T31"/>
                  </a:cxn>
                  <a:cxn ang="0">
                    <a:pos x="T32" y="T33"/>
                  </a:cxn>
                  <a:cxn ang="0">
                    <a:pos x="T34" y="T35"/>
                  </a:cxn>
                  <a:cxn ang="0">
                    <a:pos x="T36" y="T37"/>
                  </a:cxn>
                  <a:cxn ang="0">
                    <a:pos x="T38" y="T39"/>
                  </a:cxn>
                  <a:cxn ang="0">
                    <a:pos x="T40" y="T41"/>
                  </a:cxn>
                  <a:cxn ang="0">
                    <a:pos x="T42" y="T43"/>
                  </a:cxn>
                  <a:cxn ang="0">
                    <a:pos x="T44" y="T45"/>
                  </a:cxn>
                  <a:cxn ang="0">
                    <a:pos x="T46" y="T47"/>
                  </a:cxn>
                  <a:cxn ang="0">
                    <a:pos x="T48" y="T49"/>
                  </a:cxn>
                  <a:cxn ang="0">
                    <a:pos x="T50" y="T51"/>
                  </a:cxn>
                  <a:cxn ang="0">
                    <a:pos x="T52" y="T53"/>
                  </a:cxn>
                  <a:cxn ang="0">
                    <a:pos x="T54" y="T55"/>
                  </a:cxn>
                  <a:cxn ang="0">
                    <a:pos x="T56" y="T57"/>
                  </a:cxn>
                  <a:cxn ang="0">
                    <a:pos x="T58" y="T59"/>
                  </a:cxn>
                  <a:cxn ang="0">
                    <a:pos x="T60" y="T61"/>
                  </a:cxn>
                  <a:cxn ang="0">
                    <a:pos x="T62" y="T63"/>
                  </a:cxn>
                  <a:cxn ang="0">
                    <a:pos x="T64" y="T65"/>
                  </a:cxn>
                  <a:cxn ang="0">
                    <a:pos x="T66" y="T67"/>
                  </a:cxn>
                  <a:cxn ang="0">
                    <a:pos x="T68" y="T69"/>
                  </a:cxn>
                  <a:cxn ang="0">
                    <a:pos x="T70" y="T71"/>
                  </a:cxn>
                  <a:cxn ang="0">
                    <a:pos x="T72" y="T73"/>
                  </a:cxn>
                </a:cxnLst>
                <a:rect l="0" t="0" r="r" b="b"/>
                <a:pathLst>
                  <a:path w="5670" h="5670">
                    <a:moveTo>
                      <a:pt x="3544" y="0"/>
                    </a:moveTo>
                    <a:cubicBezTo>
                      <a:pt x="2633" y="0"/>
                      <a:pt x="1840" y="567"/>
                      <a:pt x="1541" y="1418"/>
                    </a:cubicBezTo>
                    <a:cubicBezTo>
                      <a:pt x="0" y="1418"/>
                      <a:pt x="0" y="1418"/>
                      <a:pt x="0" y="1418"/>
                    </a:cubicBezTo>
                    <a:cubicBezTo>
                      <a:pt x="0" y="5670"/>
                      <a:pt x="0" y="5670"/>
                      <a:pt x="0" y="5670"/>
                    </a:cubicBezTo>
                    <a:cubicBezTo>
                      <a:pt x="4252" y="5670"/>
                      <a:pt x="4252" y="5670"/>
                      <a:pt x="4252" y="5670"/>
                    </a:cubicBezTo>
                    <a:cubicBezTo>
                      <a:pt x="4252" y="4130"/>
                      <a:pt x="4252" y="4130"/>
                      <a:pt x="4252" y="4130"/>
                    </a:cubicBezTo>
                    <a:cubicBezTo>
                      <a:pt x="5103" y="3830"/>
                      <a:pt x="5670" y="3036"/>
                      <a:pt x="5670" y="2126"/>
                    </a:cubicBezTo>
                    <a:cubicBezTo>
                      <a:pt x="5670" y="954"/>
                      <a:pt x="4716" y="0"/>
                      <a:pt x="3544" y="0"/>
                    </a:cubicBezTo>
                    <a:close/>
                    <a:moveTo>
                      <a:pt x="3898" y="5315"/>
                    </a:moveTo>
                    <a:cubicBezTo>
                      <a:pt x="355" y="5315"/>
                      <a:pt x="355" y="5315"/>
                      <a:pt x="355" y="5315"/>
                    </a:cubicBezTo>
                    <a:cubicBezTo>
                      <a:pt x="355" y="1772"/>
                      <a:pt x="355" y="1772"/>
                      <a:pt x="355" y="1772"/>
                    </a:cubicBezTo>
                    <a:cubicBezTo>
                      <a:pt x="3898" y="1772"/>
                      <a:pt x="3898" y="1772"/>
                      <a:pt x="3898" y="1772"/>
                    </a:cubicBezTo>
                    <a:lnTo>
                      <a:pt x="3898" y="5315"/>
                    </a:lnTo>
                    <a:close/>
                    <a:moveTo>
                      <a:pt x="4942" y="3216"/>
                    </a:moveTo>
                    <a:cubicBezTo>
                      <a:pt x="4869" y="3310"/>
                      <a:pt x="4786" y="3396"/>
                      <a:pt x="4695" y="3473"/>
                    </a:cubicBezTo>
                    <a:cubicBezTo>
                      <a:pt x="4598" y="3557"/>
                      <a:pt x="4490" y="3630"/>
                      <a:pt x="4374" y="3691"/>
                    </a:cubicBezTo>
                    <a:cubicBezTo>
                      <a:pt x="4334" y="3712"/>
                      <a:pt x="4294" y="3731"/>
                      <a:pt x="4252" y="3750"/>
                    </a:cubicBezTo>
                    <a:cubicBezTo>
                      <a:pt x="4252" y="2796"/>
                      <a:pt x="4252" y="2796"/>
                      <a:pt x="4252" y="2796"/>
                    </a:cubicBezTo>
                    <a:cubicBezTo>
                      <a:pt x="4252" y="2304"/>
                      <a:pt x="4252" y="2304"/>
                      <a:pt x="4252" y="2304"/>
                    </a:cubicBezTo>
                    <a:cubicBezTo>
                      <a:pt x="4252" y="1949"/>
                      <a:pt x="4252" y="1949"/>
                      <a:pt x="4252" y="1949"/>
                    </a:cubicBezTo>
                    <a:cubicBezTo>
                      <a:pt x="4252" y="1418"/>
                      <a:pt x="4252" y="1418"/>
                      <a:pt x="4252" y="1418"/>
                    </a:cubicBezTo>
                    <a:cubicBezTo>
                      <a:pt x="4181" y="1418"/>
                      <a:pt x="4181" y="1418"/>
                      <a:pt x="4181" y="1418"/>
                    </a:cubicBezTo>
                    <a:cubicBezTo>
                      <a:pt x="2905" y="1418"/>
                      <a:pt x="2905" y="1418"/>
                      <a:pt x="2905" y="1418"/>
                    </a:cubicBezTo>
                    <a:cubicBezTo>
                      <a:pt x="2759" y="1418"/>
                      <a:pt x="2759" y="1418"/>
                      <a:pt x="2759" y="1418"/>
                    </a:cubicBezTo>
                    <a:cubicBezTo>
                      <a:pt x="2395" y="1418"/>
                      <a:pt x="2395" y="1418"/>
                      <a:pt x="2395" y="1418"/>
                    </a:cubicBezTo>
                    <a:cubicBezTo>
                      <a:pt x="1921" y="1418"/>
                      <a:pt x="1921" y="1418"/>
                      <a:pt x="1921" y="1418"/>
                    </a:cubicBezTo>
                    <a:cubicBezTo>
                      <a:pt x="1987" y="1264"/>
                      <a:pt x="2074" y="1124"/>
                      <a:pt x="2177" y="999"/>
                    </a:cubicBezTo>
                    <a:cubicBezTo>
                      <a:pt x="2252" y="907"/>
                      <a:pt x="2337" y="823"/>
                      <a:pt x="2429" y="749"/>
                    </a:cubicBezTo>
                    <a:cubicBezTo>
                      <a:pt x="2518" y="676"/>
                      <a:pt x="2614" y="613"/>
                      <a:pt x="2715" y="559"/>
                    </a:cubicBezTo>
                    <a:cubicBezTo>
                      <a:pt x="2964" y="428"/>
                      <a:pt x="3246" y="355"/>
                      <a:pt x="3544" y="355"/>
                    </a:cubicBezTo>
                    <a:cubicBezTo>
                      <a:pt x="3844" y="355"/>
                      <a:pt x="4127" y="430"/>
                      <a:pt x="4376" y="563"/>
                    </a:cubicBezTo>
                    <a:cubicBezTo>
                      <a:pt x="4475" y="616"/>
                      <a:pt x="4569" y="679"/>
                      <a:pt x="4657" y="750"/>
                    </a:cubicBezTo>
                    <a:cubicBezTo>
                      <a:pt x="4749" y="824"/>
                      <a:pt x="4834" y="908"/>
                      <a:pt x="4910" y="999"/>
                    </a:cubicBezTo>
                    <a:cubicBezTo>
                      <a:pt x="5127" y="1263"/>
                      <a:pt x="5271" y="1590"/>
                      <a:pt x="5306" y="1949"/>
                    </a:cubicBezTo>
                    <a:cubicBezTo>
                      <a:pt x="5312" y="2007"/>
                      <a:pt x="5315" y="2067"/>
                      <a:pt x="5315" y="2126"/>
                    </a:cubicBezTo>
                    <a:cubicBezTo>
                      <a:pt x="5315" y="2186"/>
                      <a:pt x="5311" y="2245"/>
                      <a:pt x="5306" y="2304"/>
                    </a:cubicBezTo>
                    <a:cubicBezTo>
                      <a:pt x="5272" y="2644"/>
                      <a:pt x="5144" y="2958"/>
                      <a:pt x="4942" y="3216"/>
                    </a:cubicBezTo>
                    <a:close/>
                  </a:path>
                </a:pathLst>
              </a:custGeom>
              <a:solidFill>
                <a:srgbClr val="00358E"/>
              </a:solidFill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round/>
                    <a:headEnd/>
                    <a:tailEnd/>
                  </a14:hiddenLine>
                </a:ext>
              </a:extLst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/>
              </a:p>
            </p:txBody>
          </p:sp>
        </p:grpSp>
      </p:grpSp>
      <p:sp>
        <p:nvSpPr>
          <p:cNvPr id="69" name="Freihandform: Form 68">
            <a:extLst>
              <a:ext uri="{FF2B5EF4-FFF2-40B4-BE49-F238E27FC236}">
                <a16:creationId xmlns:a16="http://schemas.microsoft.com/office/drawing/2014/main" id="{AE345C6E-2984-4951-91B3-E698B832EC19}"/>
              </a:ext>
            </a:extLst>
          </p:cNvPr>
          <p:cNvSpPr/>
          <p:nvPr/>
        </p:nvSpPr>
        <p:spPr bwMode="gray">
          <a:xfrm>
            <a:off x="3271152" y="1108521"/>
            <a:ext cx="8920758" cy="5753774"/>
          </a:xfrm>
          <a:custGeom>
            <a:avLst/>
            <a:gdLst>
              <a:gd name="connsiteX0" fmla="*/ 741364 w 8109908"/>
              <a:gd name="connsiteY0" fmla="*/ 0 h 5230787"/>
              <a:gd name="connsiteX1" fmla="*/ 8109908 w 8109908"/>
              <a:gd name="connsiteY1" fmla="*/ 0 h 5230787"/>
              <a:gd name="connsiteX2" fmla="*/ 8109908 w 8109908"/>
              <a:gd name="connsiteY2" fmla="*/ 5230787 h 5230787"/>
              <a:gd name="connsiteX3" fmla="*/ 767248 w 8109908"/>
              <a:gd name="connsiteY3" fmla="*/ 5230787 h 5230787"/>
              <a:gd name="connsiteX4" fmla="*/ 711616 w 8109908"/>
              <a:gd name="connsiteY4" fmla="*/ 5144009 h 5230787"/>
              <a:gd name="connsiteX5" fmla="*/ 0 w 8109908"/>
              <a:gd name="connsiteY5" fmla="*/ 2595206 h 5230787"/>
              <a:gd name="connsiteX6" fmla="*/ 711616 w 8109908"/>
              <a:gd name="connsiteY6" fmla="*/ 46403 h 523078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09908" h="5230787">
                <a:moveTo>
                  <a:pt x="741364" y="0"/>
                </a:moveTo>
                <a:lnTo>
                  <a:pt x="8109908" y="0"/>
                </a:lnTo>
                <a:lnTo>
                  <a:pt x="8109908" y="5230787"/>
                </a:lnTo>
                <a:lnTo>
                  <a:pt x="767248" y="5230787"/>
                </a:lnTo>
                <a:lnTo>
                  <a:pt x="711616" y="5144009"/>
                </a:lnTo>
                <a:cubicBezTo>
                  <a:pt x="260042" y="4400819"/>
                  <a:pt x="0" y="3528381"/>
                  <a:pt x="0" y="2595206"/>
                </a:cubicBezTo>
                <a:cubicBezTo>
                  <a:pt x="0" y="1662032"/>
                  <a:pt x="260042" y="789594"/>
                  <a:pt x="711616" y="4640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1400" err="1">
              <a:solidFill>
                <a:schemeClr val="tx1"/>
              </a:solidFill>
            </a:endParaRPr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F732AEAE-F989-483C-86E5-B24B177A83C9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 bwMode="gray"/>
        <p:txBody>
          <a:bodyPr/>
          <a:lstStyle/>
          <a:p>
            <a:r>
              <a:rPr lang="de-DE" dirty="0"/>
              <a:t>SV-Wert in Mio. €</a:t>
            </a:r>
          </a:p>
          <a:p>
            <a:r>
              <a:rPr lang="de-DE" dirty="0">
                <a:solidFill>
                  <a:schemeClr val="accent2"/>
                </a:solidFill>
              </a:rPr>
              <a:t>Anteil am Gesamtportfolio in %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951ADF6-97BD-4453-A932-81B731DDD3C7}"/>
              </a:ext>
            </a:extLst>
          </p:cNvPr>
          <p:cNvSpPr>
            <a:spLocks noGrp="1"/>
          </p:cNvSpPr>
          <p:nvPr>
            <p:ph type="title"/>
          </p:nvPr>
        </p:nvSpPr>
        <p:spPr bwMode="gray">
          <a:xfrm>
            <a:off x="409576" y="429756"/>
            <a:ext cx="7416203" cy="719137"/>
          </a:xfrm>
        </p:spPr>
        <p:txBody>
          <a:bodyPr/>
          <a:lstStyle/>
          <a:p>
            <a:r>
              <a:rPr lang="de-DE" dirty="0"/>
              <a:t>Nachhaltigkeit ist regulatorisch </a:t>
            </a:r>
            <a:r>
              <a:rPr lang="de-DE" dirty="0" err="1">
                <a:solidFill>
                  <a:schemeClr val="accent2"/>
                </a:solidFill>
              </a:rPr>
              <a:t>gesetz</a:t>
            </a:r>
            <a:r>
              <a:rPr lang="de-DE" dirty="0"/>
              <a:t>(t)!</a:t>
            </a:r>
          </a:p>
        </p:txBody>
      </p:sp>
      <p:grpSp>
        <p:nvGrpSpPr>
          <p:cNvPr id="58" name="Group 106">
            <a:extLst>
              <a:ext uri="{FF2B5EF4-FFF2-40B4-BE49-F238E27FC236}">
                <a16:creationId xmlns:a16="http://schemas.microsoft.com/office/drawing/2014/main" id="{4D918435-3B07-4850-B086-F8C21A8B2506}"/>
              </a:ext>
            </a:extLst>
          </p:cNvPr>
          <p:cNvGrpSpPr>
            <a:grpSpLocks noChangeAspect="1"/>
          </p:cNvGrpSpPr>
          <p:nvPr/>
        </p:nvGrpSpPr>
        <p:grpSpPr bwMode="gray">
          <a:xfrm>
            <a:off x="8007690" y="3440566"/>
            <a:ext cx="939060" cy="940166"/>
            <a:chOff x="1267" y="1442"/>
            <a:chExt cx="1694" cy="1696"/>
          </a:xfrm>
        </p:grpSpPr>
        <p:sp>
          <p:nvSpPr>
            <p:cNvPr id="59" name="Freeform 107">
              <a:extLst>
                <a:ext uri="{FF2B5EF4-FFF2-40B4-BE49-F238E27FC236}">
                  <a16:creationId xmlns:a16="http://schemas.microsoft.com/office/drawing/2014/main" id="{DBFA1156-FA89-4AC4-8315-E897E5D901F1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1373" y="1444"/>
              <a:ext cx="1588" cy="1588"/>
            </a:xfrm>
            <a:custGeom>
              <a:avLst/>
              <a:gdLst>
                <a:gd name="T0" fmla="*/ 3302 w 5315"/>
                <a:gd name="T1" fmla="*/ 390 h 5308"/>
                <a:gd name="T2" fmla="*/ 3240 w 5315"/>
                <a:gd name="T3" fmla="*/ 467 h 5308"/>
                <a:gd name="T4" fmla="*/ 1532 w 5315"/>
                <a:gd name="T5" fmla="*/ 536 h 5308"/>
                <a:gd name="T6" fmla="*/ 862 w 5315"/>
                <a:gd name="T7" fmla="*/ 951 h 5308"/>
                <a:gd name="T8" fmla="*/ 1056 w 5315"/>
                <a:gd name="T9" fmla="*/ 1533 h 5308"/>
                <a:gd name="T10" fmla="*/ 7 w 5315"/>
                <a:gd name="T11" fmla="*/ 2651 h 5308"/>
                <a:gd name="T12" fmla="*/ 7 w 5315"/>
                <a:gd name="T13" fmla="*/ 3005 h 5308"/>
                <a:gd name="T14" fmla="*/ 1034 w 5315"/>
                <a:gd name="T15" fmla="*/ 4043 h 5308"/>
                <a:gd name="T16" fmla="*/ 805 w 5315"/>
                <a:gd name="T17" fmla="*/ 4656 h 5308"/>
                <a:gd name="T18" fmla="*/ 1531 w 5315"/>
                <a:gd name="T19" fmla="*/ 5119 h 5308"/>
                <a:gd name="T20" fmla="*/ 3429 w 5315"/>
                <a:gd name="T21" fmla="*/ 5119 h 5308"/>
                <a:gd name="T22" fmla="*/ 4147 w 5315"/>
                <a:gd name="T23" fmla="*/ 4663 h 5308"/>
                <a:gd name="T24" fmla="*/ 3924 w 5315"/>
                <a:gd name="T25" fmla="*/ 4049 h 5308"/>
                <a:gd name="T26" fmla="*/ 4953 w 5315"/>
                <a:gd name="T27" fmla="*/ 3005 h 5308"/>
                <a:gd name="T28" fmla="*/ 4954 w 5315"/>
                <a:gd name="T29" fmla="*/ 2651 h 5308"/>
                <a:gd name="T30" fmla="*/ 4047 w 5315"/>
                <a:gd name="T31" fmla="*/ 2297 h 5308"/>
                <a:gd name="T32" fmla="*/ 4845 w 5315"/>
                <a:gd name="T33" fmla="*/ 2078 h 5308"/>
                <a:gd name="T34" fmla="*/ 5315 w 5315"/>
                <a:gd name="T35" fmla="*/ 1152 h 5308"/>
                <a:gd name="T36" fmla="*/ 3526 w 5315"/>
                <a:gd name="T37" fmla="*/ 193 h 5308"/>
                <a:gd name="T38" fmla="*/ 3396 w 5315"/>
                <a:gd name="T39" fmla="*/ 296 h 5308"/>
                <a:gd name="T40" fmla="*/ 1459 w 5315"/>
                <a:gd name="T41" fmla="*/ 4216 h 5308"/>
                <a:gd name="T42" fmla="*/ 2303 w 5315"/>
                <a:gd name="T43" fmla="*/ 5281 h 5308"/>
                <a:gd name="T44" fmla="*/ 1360 w 5315"/>
                <a:gd name="T45" fmla="*/ 3872 h 5308"/>
                <a:gd name="T46" fmla="*/ 2303 w 5315"/>
                <a:gd name="T47" fmla="*/ 3005 h 5308"/>
                <a:gd name="T48" fmla="*/ 2303 w 5315"/>
                <a:gd name="T49" fmla="*/ 2651 h 5308"/>
                <a:gd name="T50" fmla="*/ 1380 w 5315"/>
                <a:gd name="T51" fmla="*/ 1703 h 5308"/>
                <a:gd name="T52" fmla="*/ 2303 w 5315"/>
                <a:gd name="T53" fmla="*/ 2651 h 5308"/>
                <a:gd name="T54" fmla="*/ 1487 w 5315"/>
                <a:gd name="T55" fmla="*/ 1363 h 5308"/>
                <a:gd name="T56" fmla="*/ 2303 w 5315"/>
                <a:gd name="T57" fmla="*/ 1580 h 5308"/>
                <a:gd name="T58" fmla="*/ 3105 w 5315"/>
                <a:gd name="T59" fmla="*/ 699 h 5308"/>
                <a:gd name="T60" fmla="*/ 3069 w 5315"/>
                <a:gd name="T61" fmla="*/ 1508 h 5308"/>
                <a:gd name="T62" fmla="*/ 2657 w 5315"/>
                <a:gd name="T63" fmla="*/ 375 h 5308"/>
                <a:gd name="T64" fmla="*/ 2657 w 5315"/>
                <a:gd name="T65" fmla="*/ 3987 h 5308"/>
                <a:gd name="T66" fmla="*/ 2657 w 5315"/>
                <a:gd name="T67" fmla="*/ 5281 h 5308"/>
                <a:gd name="T68" fmla="*/ 2657 w 5315"/>
                <a:gd name="T69" fmla="*/ 3632 h 5308"/>
                <a:gd name="T70" fmla="*/ 3716 w 5315"/>
                <a:gd name="T71" fmla="*/ 3005 h 5308"/>
                <a:gd name="T72" fmla="*/ 2657 w 5315"/>
                <a:gd name="T73" fmla="*/ 2651 h 5308"/>
                <a:gd name="T74" fmla="*/ 3233 w 5315"/>
                <a:gd name="T75" fmla="*/ 1828 h 5308"/>
                <a:gd name="T76" fmla="*/ 3717 w 5315"/>
                <a:gd name="T77" fmla="*/ 2651 h 5308"/>
                <a:gd name="T78" fmla="*/ 3529 w 5315"/>
                <a:gd name="T79" fmla="*/ 670 h 5308"/>
                <a:gd name="T80" fmla="*/ 4960 w 5315"/>
                <a:gd name="T81" fmla="*/ 1152 h 5308"/>
                <a:gd name="T82" fmla="*/ 3997 w 5315"/>
                <a:gd name="T83" fmla="*/ 1931 h 5308"/>
                <a:gd name="T84" fmla="*/ 3894 w 5315"/>
                <a:gd name="T85" fmla="*/ 1901 h 5308"/>
                <a:gd name="T86" fmla="*/ 3476 w 5315"/>
                <a:gd name="T87" fmla="*/ 749 h 5308"/>
                <a:gd name="T88" fmla="*/ 3529 w 5315"/>
                <a:gd name="T89" fmla="*/ 670 h 53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</a:cxnLst>
              <a:rect l="0" t="0" r="r" b="b"/>
              <a:pathLst>
                <a:path w="5315" h="5308">
                  <a:moveTo>
                    <a:pt x="3396" y="296"/>
                  </a:moveTo>
                  <a:cubicBezTo>
                    <a:pt x="3363" y="326"/>
                    <a:pt x="3331" y="357"/>
                    <a:pt x="3302" y="390"/>
                  </a:cubicBezTo>
                  <a:cubicBezTo>
                    <a:pt x="3302" y="390"/>
                    <a:pt x="3302" y="390"/>
                    <a:pt x="3302" y="390"/>
                  </a:cubicBezTo>
                  <a:cubicBezTo>
                    <a:pt x="3280" y="414"/>
                    <a:pt x="3259" y="440"/>
                    <a:pt x="3240" y="467"/>
                  </a:cubicBezTo>
                  <a:cubicBezTo>
                    <a:pt x="2995" y="388"/>
                    <a:pt x="2741" y="348"/>
                    <a:pt x="2480" y="348"/>
                  </a:cubicBezTo>
                  <a:cubicBezTo>
                    <a:pt x="2144" y="348"/>
                    <a:pt x="1824" y="415"/>
                    <a:pt x="1532" y="536"/>
                  </a:cubicBezTo>
                  <a:cubicBezTo>
                    <a:pt x="1393" y="717"/>
                    <a:pt x="1271" y="936"/>
                    <a:pt x="1172" y="1187"/>
                  </a:cubicBezTo>
                  <a:cubicBezTo>
                    <a:pt x="1065" y="1117"/>
                    <a:pt x="961" y="1038"/>
                    <a:pt x="862" y="951"/>
                  </a:cubicBezTo>
                  <a:cubicBezTo>
                    <a:pt x="772" y="1028"/>
                    <a:pt x="688" y="1112"/>
                    <a:pt x="610" y="1201"/>
                  </a:cubicBezTo>
                  <a:cubicBezTo>
                    <a:pt x="751" y="1327"/>
                    <a:pt x="900" y="1438"/>
                    <a:pt x="1056" y="1533"/>
                  </a:cubicBezTo>
                  <a:cubicBezTo>
                    <a:pt x="961" y="1871"/>
                    <a:pt x="902" y="2248"/>
                    <a:pt x="889" y="2651"/>
                  </a:cubicBezTo>
                  <a:cubicBezTo>
                    <a:pt x="7" y="2651"/>
                    <a:pt x="7" y="2651"/>
                    <a:pt x="7" y="2651"/>
                  </a:cubicBezTo>
                  <a:cubicBezTo>
                    <a:pt x="3" y="2709"/>
                    <a:pt x="0" y="2768"/>
                    <a:pt x="0" y="2828"/>
                  </a:cubicBezTo>
                  <a:cubicBezTo>
                    <a:pt x="0" y="2888"/>
                    <a:pt x="3" y="2947"/>
                    <a:pt x="7" y="3005"/>
                  </a:cubicBezTo>
                  <a:cubicBezTo>
                    <a:pt x="889" y="3005"/>
                    <a:pt x="889" y="3005"/>
                    <a:pt x="889" y="3005"/>
                  </a:cubicBezTo>
                  <a:cubicBezTo>
                    <a:pt x="901" y="3376"/>
                    <a:pt x="952" y="3726"/>
                    <a:pt x="1034" y="4043"/>
                  </a:cubicBezTo>
                  <a:cubicBezTo>
                    <a:pt x="867" y="4144"/>
                    <a:pt x="709" y="4264"/>
                    <a:pt x="562" y="4399"/>
                  </a:cubicBezTo>
                  <a:cubicBezTo>
                    <a:pt x="637" y="4490"/>
                    <a:pt x="718" y="4576"/>
                    <a:pt x="805" y="4656"/>
                  </a:cubicBezTo>
                  <a:cubicBezTo>
                    <a:pt x="912" y="4559"/>
                    <a:pt x="1025" y="4470"/>
                    <a:pt x="1143" y="4393"/>
                  </a:cubicBezTo>
                  <a:cubicBezTo>
                    <a:pt x="1247" y="4675"/>
                    <a:pt x="1378" y="4921"/>
                    <a:pt x="1531" y="5119"/>
                  </a:cubicBezTo>
                  <a:cubicBezTo>
                    <a:pt x="1823" y="5241"/>
                    <a:pt x="2144" y="5308"/>
                    <a:pt x="2480" y="5308"/>
                  </a:cubicBezTo>
                  <a:cubicBezTo>
                    <a:pt x="2816" y="5308"/>
                    <a:pt x="3137" y="5241"/>
                    <a:pt x="3429" y="5119"/>
                  </a:cubicBezTo>
                  <a:cubicBezTo>
                    <a:pt x="3581" y="4922"/>
                    <a:pt x="3711" y="4679"/>
                    <a:pt x="3814" y="4399"/>
                  </a:cubicBezTo>
                  <a:cubicBezTo>
                    <a:pt x="3930" y="4477"/>
                    <a:pt x="4041" y="4565"/>
                    <a:pt x="4147" y="4663"/>
                  </a:cubicBezTo>
                  <a:cubicBezTo>
                    <a:pt x="4234" y="4584"/>
                    <a:pt x="4316" y="4498"/>
                    <a:pt x="4391" y="4407"/>
                  </a:cubicBezTo>
                  <a:cubicBezTo>
                    <a:pt x="4244" y="4271"/>
                    <a:pt x="4088" y="4151"/>
                    <a:pt x="3924" y="4049"/>
                  </a:cubicBezTo>
                  <a:cubicBezTo>
                    <a:pt x="4008" y="3731"/>
                    <a:pt x="4059" y="3379"/>
                    <a:pt x="4071" y="3005"/>
                  </a:cubicBezTo>
                  <a:cubicBezTo>
                    <a:pt x="4953" y="3005"/>
                    <a:pt x="4953" y="3005"/>
                    <a:pt x="4953" y="3005"/>
                  </a:cubicBezTo>
                  <a:cubicBezTo>
                    <a:pt x="4957" y="2947"/>
                    <a:pt x="4960" y="2888"/>
                    <a:pt x="4960" y="2828"/>
                  </a:cubicBezTo>
                  <a:cubicBezTo>
                    <a:pt x="4960" y="2769"/>
                    <a:pt x="4958" y="2710"/>
                    <a:pt x="4954" y="2651"/>
                  </a:cubicBezTo>
                  <a:cubicBezTo>
                    <a:pt x="4071" y="2651"/>
                    <a:pt x="4071" y="2651"/>
                    <a:pt x="4071" y="2651"/>
                  </a:cubicBezTo>
                  <a:cubicBezTo>
                    <a:pt x="4067" y="2532"/>
                    <a:pt x="4059" y="2414"/>
                    <a:pt x="4047" y="2297"/>
                  </a:cubicBezTo>
                  <a:cubicBezTo>
                    <a:pt x="4085" y="2301"/>
                    <a:pt x="4124" y="2303"/>
                    <a:pt x="4163" y="2303"/>
                  </a:cubicBezTo>
                  <a:cubicBezTo>
                    <a:pt x="4418" y="2303"/>
                    <a:pt x="4653" y="2219"/>
                    <a:pt x="4845" y="2078"/>
                  </a:cubicBezTo>
                  <a:cubicBezTo>
                    <a:pt x="4951" y="1999"/>
                    <a:pt x="5045" y="1903"/>
                    <a:pt x="5119" y="1792"/>
                  </a:cubicBezTo>
                  <a:cubicBezTo>
                    <a:pt x="5243" y="1609"/>
                    <a:pt x="5315" y="1389"/>
                    <a:pt x="5315" y="1152"/>
                  </a:cubicBezTo>
                  <a:cubicBezTo>
                    <a:pt x="5315" y="517"/>
                    <a:pt x="4798" y="0"/>
                    <a:pt x="4163" y="0"/>
                  </a:cubicBezTo>
                  <a:cubicBezTo>
                    <a:pt x="3927" y="0"/>
                    <a:pt x="3708" y="71"/>
                    <a:pt x="3526" y="193"/>
                  </a:cubicBezTo>
                  <a:cubicBezTo>
                    <a:pt x="3488" y="218"/>
                    <a:pt x="3454" y="246"/>
                    <a:pt x="3420" y="275"/>
                  </a:cubicBezTo>
                  <a:cubicBezTo>
                    <a:pt x="3412" y="282"/>
                    <a:pt x="3404" y="289"/>
                    <a:pt x="3396" y="296"/>
                  </a:cubicBezTo>
                  <a:close/>
                  <a:moveTo>
                    <a:pt x="2303" y="5281"/>
                  </a:moveTo>
                  <a:cubicBezTo>
                    <a:pt x="1957" y="5178"/>
                    <a:pt x="1653" y="4776"/>
                    <a:pt x="1459" y="4216"/>
                  </a:cubicBezTo>
                  <a:cubicBezTo>
                    <a:pt x="1728" y="4088"/>
                    <a:pt x="2015" y="4010"/>
                    <a:pt x="2303" y="3987"/>
                  </a:cubicBezTo>
                  <a:lnTo>
                    <a:pt x="2303" y="5281"/>
                  </a:lnTo>
                  <a:close/>
                  <a:moveTo>
                    <a:pt x="2303" y="3632"/>
                  </a:moveTo>
                  <a:cubicBezTo>
                    <a:pt x="1981" y="3654"/>
                    <a:pt x="1661" y="3737"/>
                    <a:pt x="1360" y="3872"/>
                  </a:cubicBezTo>
                  <a:cubicBezTo>
                    <a:pt x="1295" y="3604"/>
                    <a:pt x="1255" y="3311"/>
                    <a:pt x="1244" y="3005"/>
                  </a:cubicBezTo>
                  <a:cubicBezTo>
                    <a:pt x="2303" y="3005"/>
                    <a:pt x="2303" y="3005"/>
                    <a:pt x="2303" y="3005"/>
                  </a:cubicBezTo>
                  <a:lnTo>
                    <a:pt x="2303" y="3632"/>
                  </a:lnTo>
                  <a:close/>
                  <a:moveTo>
                    <a:pt x="2303" y="2651"/>
                  </a:moveTo>
                  <a:cubicBezTo>
                    <a:pt x="1244" y="2651"/>
                    <a:pt x="1244" y="2651"/>
                    <a:pt x="1244" y="2651"/>
                  </a:cubicBezTo>
                  <a:cubicBezTo>
                    <a:pt x="1256" y="2314"/>
                    <a:pt x="1304" y="1993"/>
                    <a:pt x="1380" y="1703"/>
                  </a:cubicBezTo>
                  <a:cubicBezTo>
                    <a:pt x="1674" y="1835"/>
                    <a:pt x="1986" y="1914"/>
                    <a:pt x="2303" y="1935"/>
                  </a:cubicBezTo>
                  <a:lnTo>
                    <a:pt x="2303" y="2651"/>
                  </a:lnTo>
                  <a:close/>
                  <a:moveTo>
                    <a:pt x="2303" y="1580"/>
                  </a:moveTo>
                  <a:cubicBezTo>
                    <a:pt x="2022" y="1558"/>
                    <a:pt x="1747" y="1484"/>
                    <a:pt x="1487" y="1363"/>
                  </a:cubicBezTo>
                  <a:cubicBezTo>
                    <a:pt x="1681" y="843"/>
                    <a:pt x="1973" y="474"/>
                    <a:pt x="2303" y="375"/>
                  </a:cubicBezTo>
                  <a:lnTo>
                    <a:pt x="2303" y="1580"/>
                  </a:lnTo>
                  <a:close/>
                  <a:moveTo>
                    <a:pt x="2657" y="375"/>
                  </a:moveTo>
                  <a:cubicBezTo>
                    <a:pt x="2842" y="431"/>
                    <a:pt x="2994" y="566"/>
                    <a:pt x="3105" y="699"/>
                  </a:cubicBezTo>
                  <a:cubicBezTo>
                    <a:pt x="3045" y="838"/>
                    <a:pt x="3011" y="991"/>
                    <a:pt x="3011" y="1152"/>
                  </a:cubicBezTo>
                  <a:cubicBezTo>
                    <a:pt x="3011" y="1276"/>
                    <a:pt x="3032" y="1396"/>
                    <a:pt x="3069" y="1508"/>
                  </a:cubicBezTo>
                  <a:cubicBezTo>
                    <a:pt x="2933" y="1545"/>
                    <a:pt x="2795" y="1569"/>
                    <a:pt x="2657" y="1580"/>
                  </a:cubicBezTo>
                  <a:lnTo>
                    <a:pt x="2657" y="375"/>
                  </a:lnTo>
                  <a:close/>
                  <a:moveTo>
                    <a:pt x="2657" y="5281"/>
                  </a:moveTo>
                  <a:cubicBezTo>
                    <a:pt x="2657" y="3987"/>
                    <a:pt x="2657" y="3987"/>
                    <a:pt x="2657" y="3987"/>
                  </a:cubicBezTo>
                  <a:cubicBezTo>
                    <a:pt x="2947" y="4010"/>
                    <a:pt x="3232" y="4088"/>
                    <a:pt x="3500" y="4218"/>
                  </a:cubicBezTo>
                  <a:cubicBezTo>
                    <a:pt x="3306" y="4777"/>
                    <a:pt x="3002" y="5178"/>
                    <a:pt x="2657" y="5281"/>
                  </a:cubicBezTo>
                  <a:close/>
                  <a:moveTo>
                    <a:pt x="3600" y="3874"/>
                  </a:moveTo>
                  <a:cubicBezTo>
                    <a:pt x="3300" y="3737"/>
                    <a:pt x="2982" y="3654"/>
                    <a:pt x="2657" y="3632"/>
                  </a:cubicBezTo>
                  <a:cubicBezTo>
                    <a:pt x="2657" y="3005"/>
                    <a:pt x="2657" y="3005"/>
                    <a:pt x="2657" y="3005"/>
                  </a:cubicBezTo>
                  <a:cubicBezTo>
                    <a:pt x="3716" y="3005"/>
                    <a:pt x="3716" y="3005"/>
                    <a:pt x="3716" y="3005"/>
                  </a:cubicBezTo>
                  <a:cubicBezTo>
                    <a:pt x="3705" y="3312"/>
                    <a:pt x="3664" y="3606"/>
                    <a:pt x="3600" y="3874"/>
                  </a:cubicBezTo>
                  <a:close/>
                  <a:moveTo>
                    <a:pt x="2657" y="2651"/>
                  </a:moveTo>
                  <a:cubicBezTo>
                    <a:pt x="2657" y="1935"/>
                    <a:pt x="2657" y="1935"/>
                    <a:pt x="2657" y="1935"/>
                  </a:cubicBezTo>
                  <a:cubicBezTo>
                    <a:pt x="2851" y="1921"/>
                    <a:pt x="3043" y="1885"/>
                    <a:pt x="3233" y="1828"/>
                  </a:cubicBezTo>
                  <a:cubicBezTo>
                    <a:pt x="3348" y="1985"/>
                    <a:pt x="3500" y="2111"/>
                    <a:pt x="3677" y="2194"/>
                  </a:cubicBezTo>
                  <a:cubicBezTo>
                    <a:pt x="3697" y="2343"/>
                    <a:pt x="3711" y="2496"/>
                    <a:pt x="3717" y="2651"/>
                  </a:cubicBezTo>
                  <a:lnTo>
                    <a:pt x="2657" y="2651"/>
                  </a:lnTo>
                  <a:close/>
                  <a:moveTo>
                    <a:pt x="3529" y="670"/>
                  </a:moveTo>
                  <a:cubicBezTo>
                    <a:pt x="3675" y="479"/>
                    <a:pt x="3904" y="354"/>
                    <a:pt x="4163" y="354"/>
                  </a:cubicBezTo>
                  <a:cubicBezTo>
                    <a:pt x="4603" y="354"/>
                    <a:pt x="4960" y="712"/>
                    <a:pt x="4960" y="1152"/>
                  </a:cubicBezTo>
                  <a:cubicBezTo>
                    <a:pt x="4960" y="1591"/>
                    <a:pt x="4603" y="1949"/>
                    <a:pt x="4163" y="1949"/>
                  </a:cubicBezTo>
                  <a:cubicBezTo>
                    <a:pt x="4106" y="1949"/>
                    <a:pt x="4050" y="1943"/>
                    <a:pt x="3997" y="1931"/>
                  </a:cubicBezTo>
                  <a:cubicBezTo>
                    <a:pt x="3990" y="1886"/>
                    <a:pt x="3990" y="1886"/>
                    <a:pt x="3990" y="1886"/>
                  </a:cubicBezTo>
                  <a:cubicBezTo>
                    <a:pt x="3894" y="1901"/>
                    <a:pt x="3894" y="1901"/>
                    <a:pt x="3894" y="1901"/>
                  </a:cubicBezTo>
                  <a:cubicBezTo>
                    <a:pt x="3587" y="1791"/>
                    <a:pt x="3366" y="1497"/>
                    <a:pt x="3366" y="1152"/>
                  </a:cubicBezTo>
                  <a:cubicBezTo>
                    <a:pt x="3366" y="1004"/>
                    <a:pt x="3407" y="867"/>
                    <a:pt x="3476" y="749"/>
                  </a:cubicBezTo>
                  <a:cubicBezTo>
                    <a:pt x="3548" y="695"/>
                    <a:pt x="3548" y="695"/>
                    <a:pt x="3548" y="695"/>
                  </a:cubicBezTo>
                  <a:lnTo>
                    <a:pt x="3529" y="670"/>
                  </a:lnTo>
                  <a:close/>
                </a:path>
              </a:pathLst>
            </a:custGeom>
            <a:solidFill>
              <a:srgbClr val="43B02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1" name="Freeform 108">
              <a:extLst>
                <a:ext uri="{FF2B5EF4-FFF2-40B4-BE49-F238E27FC236}">
                  <a16:creationId xmlns:a16="http://schemas.microsoft.com/office/drawing/2014/main" id="{2E8756A9-CE6D-4DF8-92DD-06BE8CD8A62E}"/>
                </a:ext>
              </a:extLst>
            </p:cNvPr>
            <p:cNvSpPr>
              <a:spLocks/>
            </p:cNvSpPr>
            <p:nvPr/>
          </p:nvSpPr>
          <p:spPr bwMode="gray">
            <a:xfrm>
              <a:off x="1267" y="1442"/>
              <a:ext cx="1694" cy="1696"/>
            </a:xfrm>
            <a:custGeom>
              <a:avLst/>
              <a:gdLst>
                <a:gd name="T0" fmla="*/ 5200 w 5670"/>
                <a:gd name="T1" fmla="*/ 2085 h 5670"/>
                <a:gd name="T2" fmla="*/ 5309 w 5670"/>
                <a:gd name="T3" fmla="*/ 2658 h 5670"/>
                <a:gd name="T4" fmla="*/ 5315 w 5670"/>
                <a:gd name="T5" fmla="*/ 2835 h 5670"/>
                <a:gd name="T6" fmla="*/ 5308 w 5670"/>
                <a:gd name="T7" fmla="*/ 3012 h 5670"/>
                <a:gd name="T8" fmla="*/ 4746 w 5670"/>
                <a:gd name="T9" fmla="*/ 4414 h 5670"/>
                <a:gd name="T10" fmla="*/ 4502 w 5670"/>
                <a:gd name="T11" fmla="*/ 4670 h 5670"/>
                <a:gd name="T12" fmla="*/ 3784 w 5670"/>
                <a:gd name="T13" fmla="*/ 5126 h 5670"/>
                <a:gd name="T14" fmla="*/ 2835 w 5670"/>
                <a:gd name="T15" fmla="*/ 5315 h 5670"/>
                <a:gd name="T16" fmla="*/ 1886 w 5670"/>
                <a:gd name="T17" fmla="*/ 5126 h 5670"/>
                <a:gd name="T18" fmla="*/ 1160 w 5670"/>
                <a:gd name="T19" fmla="*/ 4663 h 5670"/>
                <a:gd name="T20" fmla="*/ 917 w 5670"/>
                <a:gd name="T21" fmla="*/ 4406 h 5670"/>
                <a:gd name="T22" fmla="*/ 362 w 5670"/>
                <a:gd name="T23" fmla="*/ 3012 h 5670"/>
                <a:gd name="T24" fmla="*/ 355 w 5670"/>
                <a:gd name="T25" fmla="*/ 2835 h 5670"/>
                <a:gd name="T26" fmla="*/ 362 w 5670"/>
                <a:gd name="T27" fmla="*/ 2658 h 5670"/>
                <a:gd name="T28" fmla="*/ 965 w 5670"/>
                <a:gd name="T29" fmla="*/ 1208 h 5670"/>
                <a:gd name="T30" fmla="*/ 1217 w 5670"/>
                <a:gd name="T31" fmla="*/ 958 h 5670"/>
                <a:gd name="T32" fmla="*/ 1887 w 5670"/>
                <a:gd name="T33" fmla="*/ 543 h 5670"/>
                <a:gd name="T34" fmla="*/ 2835 w 5670"/>
                <a:gd name="T35" fmla="*/ 355 h 5670"/>
                <a:gd name="T36" fmla="*/ 3595 w 5670"/>
                <a:gd name="T37" fmla="*/ 474 h 5670"/>
                <a:gd name="T38" fmla="*/ 3657 w 5670"/>
                <a:gd name="T39" fmla="*/ 397 h 5670"/>
                <a:gd name="T40" fmla="*/ 3751 w 5670"/>
                <a:gd name="T41" fmla="*/ 303 h 5670"/>
                <a:gd name="T42" fmla="*/ 3775 w 5670"/>
                <a:gd name="T43" fmla="*/ 282 h 5670"/>
                <a:gd name="T44" fmla="*/ 3881 w 5670"/>
                <a:gd name="T45" fmla="*/ 200 h 5670"/>
                <a:gd name="T46" fmla="*/ 2835 w 5670"/>
                <a:gd name="T47" fmla="*/ 0 h 5670"/>
                <a:gd name="T48" fmla="*/ 0 w 5670"/>
                <a:gd name="T49" fmla="*/ 2835 h 5670"/>
                <a:gd name="T50" fmla="*/ 2835 w 5670"/>
                <a:gd name="T51" fmla="*/ 5670 h 5670"/>
                <a:gd name="T52" fmla="*/ 5670 w 5670"/>
                <a:gd name="T53" fmla="*/ 2835 h 5670"/>
                <a:gd name="T54" fmla="*/ 5474 w 5670"/>
                <a:gd name="T55" fmla="*/ 1799 h 5670"/>
                <a:gd name="T56" fmla="*/ 5200 w 5670"/>
                <a:gd name="T57" fmla="*/ 2085 h 56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5670" h="5670">
                  <a:moveTo>
                    <a:pt x="5200" y="2085"/>
                  </a:moveTo>
                  <a:cubicBezTo>
                    <a:pt x="5258" y="2270"/>
                    <a:pt x="5295" y="2462"/>
                    <a:pt x="5309" y="2658"/>
                  </a:cubicBezTo>
                  <a:cubicBezTo>
                    <a:pt x="5313" y="2717"/>
                    <a:pt x="5315" y="2776"/>
                    <a:pt x="5315" y="2835"/>
                  </a:cubicBezTo>
                  <a:cubicBezTo>
                    <a:pt x="5315" y="2895"/>
                    <a:pt x="5312" y="2954"/>
                    <a:pt x="5308" y="3012"/>
                  </a:cubicBezTo>
                  <a:cubicBezTo>
                    <a:pt x="5271" y="3543"/>
                    <a:pt x="5066" y="4028"/>
                    <a:pt x="4746" y="4414"/>
                  </a:cubicBezTo>
                  <a:cubicBezTo>
                    <a:pt x="4671" y="4505"/>
                    <a:pt x="4589" y="4591"/>
                    <a:pt x="4502" y="4670"/>
                  </a:cubicBezTo>
                  <a:cubicBezTo>
                    <a:pt x="4292" y="4861"/>
                    <a:pt x="4050" y="5016"/>
                    <a:pt x="3784" y="5126"/>
                  </a:cubicBezTo>
                  <a:cubicBezTo>
                    <a:pt x="3492" y="5248"/>
                    <a:pt x="3171" y="5315"/>
                    <a:pt x="2835" y="5315"/>
                  </a:cubicBezTo>
                  <a:cubicBezTo>
                    <a:pt x="2499" y="5315"/>
                    <a:pt x="2178" y="5248"/>
                    <a:pt x="1886" y="5126"/>
                  </a:cubicBezTo>
                  <a:cubicBezTo>
                    <a:pt x="1617" y="5014"/>
                    <a:pt x="1372" y="4857"/>
                    <a:pt x="1160" y="4663"/>
                  </a:cubicBezTo>
                  <a:cubicBezTo>
                    <a:pt x="1073" y="4583"/>
                    <a:pt x="992" y="4497"/>
                    <a:pt x="917" y="4406"/>
                  </a:cubicBezTo>
                  <a:cubicBezTo>
                    <a:pt x="601" y="4021"/>
                    <a:pt x="399" y="3539"/>
                    <a:pt x="362" y="3012"/>
                  </a:cubicBezTo>
                  <a:cubicBezTo>
                    <a:pt x="358" y="2954"/>
                    <a:pt x="355" y="2895"/>
                    <a:pt x="355" y="2835"/>
                  </a:cubicBezTo>
                  <a:cubicBezTo>
                    <a:pt x="355" y="2775"/>
                    <a:pt x="358" y="2716"/>
                    <a:pt x="362" y="2658"/>
                  </a:cubicBezTo>
                  <a:cubicBezTo>
                    <a:pt x="401" y="2105"/>
                    <a:pt x="622" y="1602"/>
                    <a:pt x="965" y="1208"/>
                  </a:cubicBezTo>
                  <a:cubicBezTo>
                    <a:pt x="1043" y="1119"/>
                    <a:pt x="1127" y="1035"/>
                    <a:pt x="1217" y="958"/>
                  </a:cubicBezTo>
                  <a:cubicBezTo>
                    <a:pt x="1415" y="786"/>
                    <a:pt x="1641" y="646"/>
                    <a:pt x="1887" y="543"/>
                  </a:cubicBezTo>
                  <a:cubicBezTo>
                    <a:pt x="2179" y="422"/>
                    <a:pt x="2499" y="355"/>
                    <a:pt x="2835" y="355"/>
                  </a:cubicBezTo>
                  <a:cubicBezTo>
                    <a:pt x="3096" y="355"/>
                    <a:pt x="3350" y="395"/>
                    <a:pt x="3595" y="474"/>
                  </a:cubicBezTo>
                  <a:cubicBezTo>
                    <a:pt x="3614" y="447"/>
                    <a:pt x="3635" y="421"/>
                    <a:pt x="3657" y="397"/>
                  </a:cubicBezTo>
                  <a:cubicBezTo>
                    <a:pt x="3686" y="364"/>
                    <a:pt x="3718" y="333"/>
                    <a:pt x="3751" y="303"/>
                  </a:cubicBezTo>
                  <a:cubicBezTo>
                    <a:pt x="3759" y="296"/>
                    <a:pt x="3767" y="289"/>
                    <a:pt x="3775" y="282"/>
                  </a:cubicBezTo>
                  <a:cubicBezTo>
                    <a:pt x="3809" y="253"/>
                    <a:pt x="3843" y="225"/>
                    <a:pt x="3881" y="200"/>
                  </a:cubicBezTo>
                  <a:cubicBezTo>
                    <a:pt x="3548" y="68"/>
                    <a:pt x="3197" y="0"/>
                    <a:pt x="2835" y="0"/>
                  </a:cubicBezTo>
                  <a:cubicBezTo>
                    <a:pt x="1272" y="0"/>
                    <a:pt x="0" y="1272"/>
                    <a:pt x="0" y="2835"/>
                  </a:cubicBezTo>
                  <a:cubicBezTo>
                    <a:pt x="0" y="4398"/>
                    <a:pt x="1272" y="5670"/>
                    <a:pt x="2835" y="5670"/>
                  </a:cubicBezTo>
                  <a:cubicBezTo>
                    <a:pt x="4398" y="5670"/>
                    <a:pt x="5670" y="4398"/>
                    <a:pt x="5670" y="2835"/>
                  </a:cubicBezTo>
                  <a:cubicBezTo>
                    <a:pt x="5670" y="2477"/>
                    <a:pt x="5604" y="2129"/>
                    <a:pt x="5474" y="1799"/>
                  </a:cubicBezTo>
                  <a:cubicBezTo>
                    <a:pt x="5400" y="1910"/>
                    <a:pt x="5306" y="2006"/>
                    <a:pt x="5200" y="2085"/>
                  </a:cubicBezTo>
                  <a:close/>
                </a:path>
              </a:pathLst>
            </a:custGeom>
            <a:solidFill>
              <a:srgbClr val="003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2" name="Freeform 109">
              <a:extLst>
                <a:ext uri="{FF2B5EF4-FFF2-40B4-BE49-F238E27FC236}">
                  <a16:creationId xmlns:a16="http://schemas.microsoft.com/office/drawing/2014/main" id="{C266235C-4579-4EFE-9241-E524070DF622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630" y="1803"/>
              <a:ext cx="149" cy="157"/>
            </a:xfrm>
            <a:custGeom>
              <a:avLst/>
              <a:gdLst>
                <a:gd name="T0" fmla="*/ 0 w 499"/>
                <a:gd name="T1" fmla="*/ 258 h 524"/>
                <a:gd name="T2" fmla="*/ 249 w 499"/>
                <a:gd name="T3" fmla="*/ 524 h 524"/>
                <a:gd name="T4" fmla="*/ 499 w 499"/>
                <a:gd name="T5" fmla="*/ 258 h 524"/>
                <a:gd name="T6" fmla="*/ 249 w 499"/>
                <a:gd name="T7" fmla="*/ 0 h 524"/>
                <a:gd name="T8" fmla="*/ 0 w 499"/>
                <a:gd name="T9" fmla="*/ 258 h 524"/>
                <a:gd name="T10" fmla="*/ 346 w 499"/>
                <a:gd name="T11" fmla="*/ 258 h 524"/>
                <a:gd name="T12" fmla="*/ 249 w 499"/>
                <a:gd name="T13" fmla="*/ 410 h 524"/>
                <a:gd name="T14" fmla="*/ 153 w 499"/>
                <a:gd name="T15" fmla="*/ 258 h 524"/>
                <a:gd name="T16" fmla="*/ 249 w 499"/>
                <a:gd name="T17" fmla="*/ 117 h 524"/>
                <a:gd name="T18" fmla="*/ 346 w 499"/>
                <a:gd name="T19" fmla="*/ 258 h 52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9" h="524">
                  <a:moveTo>
                    <a:pt x="0" y="258"/>
                  </a:moveTo>
                  <a:cubicBezTo>
                    <a:pt x="0" y="419"/>
                    <a:pt x="99" y="524"/>
                    <a:pt x="249" y="524"/>
                  </a:cubicBezTo>
                  <a:cubicBezTo>
                    <a:pt x="400" y="524"/>
                    <a:pt x="499" y="419"/>
                    <a:pt x="499" y="258"/>
                  </a:cubicBezTo>
                  <a:cubicBezTo>
                    <a:pt x="499" y="88"/>
                    <a:pt x="398" y="0"/>
                    <a:pt x="249" y="0"/>
                  </a:cubicBezTo>
                  <a:cubicBezTo>
                    <a:pt x="100" y="0"/>
                    <a:pt x="0" y="88"/>
                    <a:pt x="0" y="258"/>
                  </a:cubicBezTo>
                  <a:close/>
                  <a:moveTo>
                    <a:pt x="346" y="258"/>
                  </a:moveTo>
                  <a:cubicBezTo>
                    <a:pt x="346" y="365"/>
                    <a:pt x="303" y="410"/>
                    <a:pt x="249" y="410"/>
                  </a:cubicBezTo>
                  <a:cubicBezTo>
                    <a:pt x="196" y="410"/>
                    <a:pt x="153" y="365"/>
                    <a:pt x="153" y="258"/>
                  </a:cubicBezTo>
                  <a:cubicBezTo>
                    <a:pt x="153" y="156"/>
                    <a:pt x="194" y="117"/>
                    <a:pt x="249" y="117"/>
                  </a:cubicBezTo>
                  <a:cubicBezTo>
                    <a:pt x="305" y="117"/>
                    <a:pt x="346" y="156"/>
                    <a:pt x="346" y="258"/>
                  </a:cubicBezTo>
                  <a:close/>
                </a:path>
              </a:pathLst>
            </a:custGeom>
            <a:solidFill>
              <a:srgbClr val="003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3" name="Freeform 110">
              <a:extLst>
                <a:ext uri="{FF2B5EF4-FFF2-40B4-BE49-F238E27FC236}">
                  <a16:creationId xmlns:a16="http://schemas.microsoft.com/office/drawing/2014/main" id="{F6AF1E71-B688-4727-86FF-43DC1DF89D7C}"/>
                </a:ext>
              </a:extLst>
            </p:cNvPr>
            <p:cNvSpPr>
              <a:spLocks/>
            </p:cNvSpPr>
            <p:nvPr/>
          </p:nvSpPr>
          <p:spPr bwMode="gray">
            <a:xfrm>
              <a:off x="2496" y="1643"/>
              <a:ext cx="224" cy="321"/>
            </a:xfrm>
            <a:custGeom>
              <a:avLst/>
              <a:gdLst>
                <a:gd name="T0" fmla="*/ 35 w 224"/>
                <a:gd name="T1" fmla="*/ 321 h 321"/>
                <a:gd name="T2" fmla="*/ 224 w 224"/>
                <a:gd name="T3" fmla="*/ 0 h 321"/>
                <a:gd name="T4" fmla="*/ 188 w 224"/>
                <a:gd name="T5" fmla="*/ 0 h 321"/>
                <a:gd name="T6" fmla="*/ 0 w 224"/>
                <a:gd name="T7" fmla="*/ 321 h 321"/>
                <a:gd name="T8" fmla="*/ 35 w 224"/>
                <a:gd name="T9" fmla="*/ 321 h 3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224" h="321">
                  <a:moveTo>
                    <a:pt x="35" y="321"/>
                  </a:moveTo>
                  <a:lnTo>
                    <a:pt x="224" y="0"/>
                  </a:lnTo>
                  <a:lnTo>
                    <a:pt x="188" y="0"/>
                  </a:lnTo>
                  <a:lnTo>
                    <a:pt x="0" y="321"/>
                  </a:lnTo>
                  <a:lnTo>
                    <a:pt x="35" y="321"/>
                  </a:lnTo>
                  <a:close/>
                </a:path>
              </a:pathLst>
            </a:custGeom>
            <a:solidFill>
              <a:srgbClr val="003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  <p:sp>
          <p:nvSpPr>
            <p:cNvPr id="64" name="Freeform 111">
              <a:extLst>
                <a:ext uri="{FF2B5EF4-FFF2-40B4-BE49-F238E27FC236}">
                  <a16:creationId xmlns:a16="http://schemas.microsoft.com/office/drawing/2014/main" id="{D97B2BA7-855E-4B79-912C-60DC8C556303}"/>
                </a:ext>
              </a:extLst>
            </p:cNvPr>
            <p:cNvSpPr>
              <a:spLocks noEditPoints="1"/>
            </p:cNvSpPr>
            <p:nvPr/>
          </p:nvSpPr>
          <p:spPr bwMode="gray">
            <a:xfrm>
              <a:off x="2434" y="1654"/>
              <a:ext cx="149" cy="156"/>
            </a:xfrm>
            <a:custGeom>
              <a:avLst/>
              <a:gdLst>
                <a:gd name="T0" fmla="*/ 249 w 499"/>
                <a:gd name="T1" fmla="*/ 523 h 523"/>
                <a:gd name="T2" fmla="*/ 499 w 499"/>
                <a:gd name="T3" fmla="*/ 258 h 523"/>
                <a:gd name="T4" fmla="*/ 249 w 499"/>
                <a:gd name="T5" fmla="*/ 0 h 523"/>
                <a:gd name="T6" fmla="*/ 0 w 499"/>
                <a:gd name="T7" fmla="*/ 258 h 523"/>
                <a:gd name="T8" fmla="*/ 249 w 499"/>
                <a:gd name="T9" fmla="*/ 523 h 523"/>
                <a:gd name="T10" fmla="*/ 249 w 499"/>
                <a:gd name="T11" fmla="*/ 116 h 523"/>
                <a:gd name="T12" fmla="*/ 346 w 499"/>
                <a:gd name="T13" fmla="*/ 258 h 523"/>
                <a:gd name="T14" fmla="*/ 249 w 499"/>
                <a:gd name="T15" fmla="*/ 410 h 523"/>
                <a:gd name="T16" fmla="*/ 153 w 499"/>
                <a:gd name="T17" fmla="*/ 258 h 523"/>
                <a:gd name="T18" fmla="*/ 249 w 499"/>
                <a:gd name="T19" fmla="*/ 116 h 5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499" h="523">
                  <a:moveTo>
                    <a:pt x="249" y="523"/>
                  </a:moveTo>
                  <a:cubicBezTo>
                    <a:pt x="400" y="523"/>
                    <a:pt x="499" y="418"/>
                    <a:pt x="499" y="258"/>
                  </a:cubicBezTo>
                  <a:cubicBezTo>
                    <a:pt x="499" y="88"/>
                    <a:pt x="398" y="0"/>
                    <a:pt x="249" y="0"/>
                  </a:cubicBezTo>
                  <a:cubicBezTo>
                    <a:pt x="100" y="0"/>
                    <a:pt x="0" y="88"/>
                    <a:pt x="0" y="258"/>
                  </a:cubicBezTo>
                  <a:cubicBezTo>
                    <a:pt x="0" y="418"/>
                    <a:pt x="99" y="523"/>
                    <a:pt x="249" y="523"/>
                  </a:cubicBezTo>
                  <a:close/>
                  <a:moveTo>
                    <a:pt x="249" y="116"/>
                  </a:moveTo>
                  <a:cubicBezTo>
                    <a:pt x="305" y="116"/>
                    <a:pt x="346" y="156"/>
                    <a:pt x="346" y="258"/>
                  </a:cubicBezTo>
                  <a:cubicBezTo>
                    <a:pt x="346" y="364"/>
                    <a:pt x="303" y="410"/>
                    <a:pt x="249" y="410"/>
                  </a:cubicBezTo>
                  <a:cubicBezTo>
                    <a:pt x="195" y="410"/>
                    <a:pt x="153" y="364"/>
                    <a:pt x="153" y="258"/>
                  </a:cubicBezTo>
                  <a:cubicBezTo>
                    <a:pt x="153" y="156"/>
                    <a:pt x="194" y="116"/>
                    <a:pt x="249" y="116"/>
                  </a:cubicBezTo>
                  <a:close/>
                </a:path>
              </a:pathLst>
            </a:custGeom>
            <a:solidFill>
              <a:srgbClr val="00358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/>
            </a:p>
          </p:txBody>
        </p:sp>
      </p:grpSp>
      <p:grpSp>
        <p:nvGrpSpPr>
          <p:cNvPr id="4" name="Gruppieren 3">
            <a:extLst>
              <a:ext uri="{FF2B5EF4-FFF2-40B4-BE49-F238E27FC236}">
                <a16:creationId xmlns:a16="http://schemas.microsoft.com/office/drawing/2014/main" id="{83AB42F3-BFCA-4F3C-9994-97C6A21ACC07}"/>
              </a:ext>
            </a:extLst>
          </p:cNvPr>
          <p:cNvGrpSpPr/>
          <p:nvPr/>
        </p:nvGrpSpPr>
        <p:grpSpPr bwMode="gray">
          <a:xfrm>
            <a:off x="9373951" y="1880828"/>
            <a:ext cx="2460951" cy="387798"/>
            <a:chOff x="9314439" y="2277750"/>
            <a:chExt cx="2460951" cy="387798"/>
          </a:xfrm>
        </p:grpSpPr>
        <p:sp>
          <p:nvSpPr>
            <p:cNvPr id="34" name="Textfeld 33">
              <a:extLst>
                <a:ext uri="{FF2B5EF4-FFF2-40B4-BE49-F238E27FC236}">
                  <a16:creationId xmlns:a16="http://schemas.microsoft.com/office/drawing/2014/main" id="{7F7B5B62-2D5B-483A-AB28-446E666F44C1}"/>
                </a:ext>
              </a:extLst>
            </p:cNvPr>
            <p:cNvSpPr txBox="1"/>
            <p:nvPr/>
          </p:nvSpPr>
          <p:spPr bwMode="gray">
            <a:xfrm>
              <a:off x="9996523" y="2277750"/>
              <a:ext cx="1778867" cy="387798"/>
            </a:xfrm>
            <a:prstGeom prst="rect">
              <a:avLst/>
            </a:prstGeom>
            <a:noFill/>
          </p:spPr>
          <p:txBody>
            <a:bodyPr wrap="none" lIns="144000" tIns="0" rIns="0" bIns="0" rtlCol="0" anchor="ctr">
              <a:spAutoFit/>
            </a:bodyPr>
            <a:lstStyle/>
            <a:p>
              <a:pPr marL="0" indent="0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17.902,4 Mio.€</a:t>
              </a:r>
            </a:p>
            <a:p>
              <a:pPr marL="0" indent="0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41,8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Deutschland</a:t>
              </a:r>
            </a:p>
          </p:txBody>
        </p:sp>
        <p:cxnSp>
          <p:nvCxnSpPr>
            <p:cNvPr id="52" name="Gerader Verbinder 51">
              <a:extLst>
                <a:ext uri="{FF2B5EF4-FFF2-40B4-BE49-F238E27FC236}">
                  <a16:creationId xmlns:a16="http://schemas.microsoft.com/office/drawing/2014/main" id="{8C40992B-C2E6-487C-9EC4-DF6CA0D7647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314439" y="2385762"/>
              <a:ext cx="682081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5" name="Gruppieren 4">
            <a:extLst>
              <a:ext uri="{FF2B5EF4-FFF2-40B4-BE49-F238E27FC236}">
                <a16:creationId xmlns:a16="http://schemas.microsoft.com/office/drawing/2014/main" id="{1D87061F-F18E-495F-9919-872A1C9F50AB}"/>
              </a:ext>
            </a:extLst>
          </p:cNvPr>
          <p:cNvGrpSpPr/>
          <p:nvPr/>
        </p:nvGrpSpPr>
        <p:grpSpPr bwMode="gray">
          <a:xfrm>
            <a:off x="9244013" y="5781086"/>
            <a:ext cx="2247793" cy="387798"/>
            <a:chOff x="9121426" y="5781086"/>
            <a:chExt cx="2247793" cy="387798"/>
          </a:xfrm>
        </p:grpSpPr>
        <p:sp>
          <p:nvSpPr>
            <p:cNvPr id="36" name="Textfeld 35">
              <a:extLst>
                <a:ext uri="{FF2B5EF4-FFF2-40B4-BE49-F238E27FC236}">
                  <a16:creationId xmlns:a16="http://schemas.microsoft.com/office/drawing/2014/main" id="{38228ED5-5A84-47D2-B117-CC3CA378EB1C}"/>
                </a:ext>
              </a:extLst>
            </p:cNvPr>
            <p:cNvSpPr txBox="1"/>
            <p:nvPr/>
          </p:nvSpPr>
          <p:spPr bwMode="gray">
            <a:xfrm>
              <a:off x="10120947" y="5781086"/>
              <a:ext cx="1248272" cy="387798"/>
            </a:xfrm>
            <a:prstGeom prst="rect">
              <a:avLst/>
            </a:prstGeom>
            <a:noFill/>
          </p:spPr>
          <p:txBody>
            <a:bodyPr wrap="none" lIns="144000" tIns="0" rIns="0" bIns="0" rtlCol="0" anchor="ctr">
              <a:spAutoFit/>
            </a:bodyPr>
            <a:lstStyle/>
            <a:p>
              <a:pPr marL="0" indent="0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5.640,6 Mio.€</a:t>
              </a:r>
            </a:p>
            <a:p>
              <a:pPr marL="0" indent="0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13,2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USA</a:t>
              </a:r>
            </a:p>
          </p:txBody>
        </p:sp>
        <p:cxnSp>
          <p:nvCxnSpPr>
            <p:cNvPr id="56" name="Gerader Verbinder 55">
              <a:extLst>
                <a:ext uri="{FF2B5EF4-FFF2-40B4-BE49-F238E27FC236}">
                  <a16:creationId xmlns:a16="http://schemas.microsoft.com/office/drawing/2014/main" id="{A934EFA7-AF93-4945-BBB2-10E5F21F765A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9121426" y="5877272"/>
              <a:ext cx="999521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" name="Gruppieren 5">
            <a:extLst>
              <a:ext uri="{FF2B5EF4-FFF2-40B4-BE49-F238E27FC236}">
                <a16:creationId xmlns:a16="http://schemas.microsoft.com/office/drawing/2014/main" id="{22B8581A-7428-46FE-9840-472DA529B790}"/>
              </a:ext>
            </a:extLst>
          </p:cNvPr>
          <p:cNvGrpSpPr/>
          <p:nvPr/>
        </p:nvGrpSpPr>
        <p:grpSpPr bwMode="gray">
          <a:xfrm>
            <a:off x="4693431" y="5553236"/>
            <a:ext cx="2572797" cy="387798"/>
            <a:chOff x="4282310" y="5781086"/>
            <a:chExt cx="2572797" cy="387798"/>
          </a:xfrm>
        </p:grpSpPr>
        <p:sp>
          <p:nvSpPr>
            <p:cNvPr id="38" name="Textfeld 37">
              <a:extLst>
                <a:ext uri="{FF2B5EF4-FFF2-40B4-BE49-F238E27FC236}">
                  <a16:creationId xmlns:a16="http://schemas.microsoft.com/office/drawing/2014/main" id="{5EEC7E2D-E20C-43EB-85D9-31CD453D4C2F}"/>
                </a:ext>
              </a:extLst>
            </p:cNvPr>
            <p:cNvSpPr txBox="1"/>
            <p:nvPr/>
          </p:nvSpPr>
          <p:spPr bwMode="gray">
            <a:xfrm>
              <a:off x="4282310" y="5781086"/>
              <a:ext cx="1528797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3.727,5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8,7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Frankreich</a:t>
              </a:r>
            </a:p>
          </p:txBody>
        </p:sp>
        <p:cxnSp>
          <p:nvCxnSpPr>
            <p:cNvPr id="60" name="Gerader Verbinder 59">
              <a:extLst>
                <a:ext uri="{FF2B5EF4-FFF2-40B4-BE49-F238E27FC236}">
                  <a16:creationId xmlns:a16="http://schemas.microsoft.com/office/drawing/2014/main" id="{78518A9E-11D5-4A27-A43D-095F05FE4487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811107" y="5877272"/>
              <a:ext cx="1044000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3" name="Gruppieren 12">
            <a:extLst>
              <a:ext uri="{FF2B5EF4-FFF2-40B4-BE49-F238E27FC236}">
                <a16:creationId xmlns:a16="http://schemas.microsoft.com/office/drawing/2014/main" id="{387B9A1D-4E00-4790-9DD8-0ED8A0FD4A3C}"/>
              </a:ext>
            </a:extLst>
          </p:cNvPr>
          <p:cNvGrpSpPr/>
          <p:nvPr/>
        </p:nvGrpSpPr>
        <p:grpSpPr bwMode="gray">
          <a:xfrm>
            <a:off x="5127559" y="1880828"/>
            <a:ext cx="2452707" cy="387798"/>
            <a:chOff x="4282309" y="2277750"/>
            <a:chExt cx="2452707" cy="387798"/>
          </a:xfrm>
        </p:grpSpPr>
        <p:sp>
          <p:nvSpPr>
            <p:cNvPr id="47" name="Textfeld 46">
              <a:extLst>
                <a:ext uri="{FF2B5EF4-FFF2-40B4-BE49-F238E27FC236}">
                  <a16:creationId xmlns:a16="http://schemas.microsoft.com/office/drawing/2014/main" id="{29AFD97D-FD43-4055-A7E1-A4BB9272CB27}"/>
                </a:ext>
              </a:extLst>
            </p:cNvPr>
            <p:cNvSpPr txBox="1"/>
            <p:nvPr/>
          </p:nvSpPr>
          <p:spPr bwMode="gray">
            <a:xfrm>
              <a:off x="4282309" y="2277750"/>
              <a:ext cx="1480708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6.302,5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14,7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Sonstige</a:t>
              </a:r>
            </a:p>
          </p:txBody>
        </p:sp>
        <p:cxnSp>
          <p:nvCxnSpPr>
            <p:cNvPr id="66" name="Gerader Verbinder 65">
              <a:extLst>
                <a:ext uri="{FF2B5EF4-FFF2-40B4-BE49-F238E27FC236}">
                  <a16:creationId xmlns:a16="http://schemas.microsoft.com/office/drawing/2014/main" id="{0F21EC54-017E-4AE3-9BF1-1F94082ADFB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5763016" y="2385762"/>
              <a:ext cx="972000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" name="Gruppieren 6">
            <a:extLst>
              <a:ext uri="{FF2B5EF4-FFF2-40B4-BE49-F238E27FC236}">
                <a16:creationId xmlns:a16="http://schemas.microsoft.com/office/drawing/2014/main" id="{C7C2E9F5-BE6A-4ED2-B520-F167A2255241}"/>
              </a:ext>
            </a:extLst>
          </p:cNvPr>
          <p:cNvGrpSpPr/>
          <p:nvPr/>
        </p:nvGrpSpPr>
        <p:grpSpPr bwMode="gray">
          <a:xfrm>
            <a:off x="4031998" y="4687338"/>
            <a:ext cx="2569645" cy="387798"/>
            <a:chOff x="2931995" y="4950399"/>
            <a:chExt cx="2569645" cy="387798"/>
          </a:xfrm>
        </p:grpSpPr>
        <p:sp>
          <p:nvSpPr>
            <p:cNvPr id="42" name="Textfeld 41">
              <a:extLst>
                <a:ext uri="{FF2B5EF4-FFF2-40B4-BE49-F238E27FC236}">
                  <a16:creationId xmlns:a16="http://schemas.microsoft.com/office/drawing/2014/main" id="{E45A7C87-3782-4D44-87E3-08E0E546537E}"/>
                </a:ext>
              </a:extLst>
            </p:cNvPr>
            <p:cNvSpPr txBox="1"/>
            <p:nvPr/>
          </p:nvSpPr>
          <p:spPr bwMode="gray">
            <a:xfrm>
              <a:off x="2931995" y="4950399"/>
              <a:ext cx="1876649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2.932,9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6,8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Großbritannien</a:t>
              </a:r>
            </a:p>
          </p:txBody>
        </p:sp>
        <p:cxnSp>
          <p:nvCxnSpPr>
            <p:cNvPr id="68" name="Gerader Verbinder 67">
              <a:extLst>
                <a:ext uri="{FF2B5EF4-FFF2-40B4-BE49-F238E27FC236}">
                  <a16:creationId xmlns:a16="http://schemas.microsoft.com/office/drawing/2014/main" id="{FD5C6CA5-FC56-46A3-84C7-B5816B2861D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808644" y="5050165"/>
              <a:ext cx="692996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8" name="Gruppieren 7">
            <a:extLst>
              <a:ext uri="{FF2B5EF4-FFF2-40B4-BE49-F238E27FC236}">
                <a16:creationId xmlns:a16="http://schemas.microsoft.com/office/drawing/2014/main" id="{CA68E47A-B9D8-4709-8798-A8743B4F8AB1}"/>
              </a:ext>
            </a:extLst>
          </p:cNvPr>
          <p:cNvGrpSpPr/>
          <p:nvPr/>
        </p:nvGrpSpPr>
        <p:grpSpPr bwMode="gray">
          <a:xfrm>
            <a:off x="4541687" y="3550129"/>
            <a:ext cx="1860272" cy="387798"/>
            <a:chOff x="2912759" y="4408981"/>
            <a:chExt cx="1860272" cy="387798"/>
          </a:xfrm>
        </p:grpSpPr>
        <p:sp>
          <p:nvSpPr>
            <p:cNvPr id="43" name="Textfeld 42">
              <a:extLst>
                <a:ext uri="{FF2B5EF4-FFF2-40B4-BE49-F238E27FC236}">
                  <a16:creationId xmlns:a16="http://schemas.microsoft.com/office/drawing/2014/main" id="{6DE06BC6-1FFE-4653-B3AF-755C751FCFEF}"/>
                </a:ext>
              </a:extLst>
            </p:cNvPr>
            <p:cNvSpPr txBox="1"/>
            <p:nvPr/>
          </p:nvSpPr>
          <p:spPr bwMode="gray">
            <a:xfrm>
              <a:off x="2912759" y="4408981"/>
              <a:ext cx="1248272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1.963,4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4,6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Polen</a:t>
              </a:r>
            </a:p>
          </p:txBody>
        </p:sp>
        <p:cxnSp>
          <p:nvCxnSpPr>
            <p:cNvPr id="71" name="Gerader Verbinder 70">
              <a:extLst>
                <a:ext uri="{FF2B5EF4-FFF2-40B4-BE49-F238E27FC236}">
                  <a16:creationId xmlns:a16="http://schemas.microsoft.com/office/drawing/2014/main" id="{2905E9E6-CF8A-49F7-89D8-74218012E9A5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161031" y="4516993"/>
              <a:ext cx="612000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0" name="Gruppieren 9">
            <a:extLst>
              <a:ext uri="{FF2B5EF4-FFF2-40B4-BE49-F238E27FC236}">
                <a16:creationId xmlns:a16="http://schemas.microsoft.com/office/drawing/2014/main" id="{B5103F9E-8672-42F2-A755-E3F785A67354}"/>
              </a:ext>
            </a:extLst>
          </p:cNvPr>
          <p:cNvGrpSpPr/>
          <p:nvPr/>
        </p:nvGrpSpPr>
        <p:grpSpPr bwMode="gray">
          <a:xfrm>
            <a:off x="4140674" y="4090189"/>
            <a:ext cx="2261024" cy="387798"/>
            <a:chOff x="2931994" y="3867562"/>
            <a:chExt cx="2261024" cy="387798"/>
          </a:xfrm>
        </p:grpSpPr>
        <p:sp>
          <p:nvSpPr>
            <p:cNvPr id="44" name="Textfeld 43">
              <a:extLst>
                <a:ext uri="{FF2B5EF4-FFF2-40B4-BE49-F238E27FC236}">
                  <a16:creationId xmlns:a16="http://schemas.microsoft.com/office/drawing/2014/main" id="{DA1357BC-20D3-4B9C-B561-01F6D19D0B3A}"/>
                </a:ext>
              </a:extLst>
            </p:cNvPr>
            <p:cNvSpPr txBox="1"/>
            <p:nvPr/>
          </p:nvSpPr>
          <p:spPr bwMode="gray">
            <a:xfrm>
              <a:off x="2931994" y="3867562"/>
              <a:ext cx="1649024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2.229,7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5,2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Niederlande</a:t>
              </a:r>
            </a:p>
          </p:txBody>
        </p:sp>
        <p:cxnSp>
          <p:nvCxnSpPr>
            <p:cNvPr id="74" name="Gerader Verbinder 73">
              <a:extLst>
                <a:ext uri="{FF2B5EF4-FFF2-40B4-BE49-F238E27FC236}">
                  <a16:creationId xmlns:a16="http://schemas.microsoft.com/office/drawing/2014/main" id="{35BEB457-296F-4177-BA72-4A9414302070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581018" y="3967328"/>
              <a:ext cx="612000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1" name="Gruppieren 10">
            <a:extLst>
              <a:ext uri="{FF2B5EF4-FFF2-40B4-BE49-F238E27FC236}">
                <a16:creationId xmlns:a16="http://schemas.microsoft.com/office/drawing/2014/main" id="{A9EB4B88-C193-470F-823C-D93BA36FE208}"/>
              </a:ext>
            </a:extLst>
          </p:cNvPr>
          <p:cNvGrpSpPr/>
          <p:nvPr/>
        </p:nvGrpSpPr>
        <p:grpSpPr bwMode="gray">
          <a:xfrm>
            <a:off x="4354069" y="3046073"/>
            <a:ext cx="2139562" cy="387798"/>
            <a:chOff x="2931995" y="3326143"/>
            <a:chExt cx="2139562" cy="387798"/>
          </a:xfrm>
        </p:grpSpPr>
        <p:sp>
          <p:nvSpPr>
            <p:cNvPr id="45" name="Textfeld 44">
              <a:extLst>
                <a:ext uri="{FF2B5EF4-FFF2-40B4-BE49-F238E27FC236}">
                  <a16:creationId xmlns:a16="http://schemas.microsoft.com/office/drawing/2014/main" id="{833E1732-D47B-48CD-8735-B10933B006F0}"/>
                </a:ext>
              </a:extLst>
            </p:cNvPr>
            <p:cNvSpPr txBox="1"/>
            <p:nvPr/>
          </p:nvSpPr>
          <p:spPr bwMode="gray">
            <a:xfrm>
              <a:off x="2931995" y="3326143"/>
              <a:ext cx="1509562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1.260,5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2,9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Österreich</a:t>
              </a:r>
            </a:p>
          </p:txBody>
        </p:sp>
        <p:cxnSp>
          <p:nvCxnSpPr>
            <p:cNvPr id="76" name="Gerader Verbinder 75">
              <a:extLst>
                <a:ext uri="{FF2B5EF4-FFF2-40B4-BE49-F238E27FC236}">
                  <a16:creationId xmlns:a16="http://schemas.microsoft.com/office/drawing/2014/main" id="{5A15FD37-5AC8-4059-A6CD-F45AE424A162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441557" y="3425909"/>
              <a:ext cx="630000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5" name="Textfeld 34">
            <a:extLst>
              <a:ext uri="{FF2B5EF4-FFF2-40B4-BE49-F238E27FC236}">
                <a16:creationId xmlns:a16="http://schemas.microsoft.com/office/drawing/2014/main" id="{31C67C21-6965-4386-825B-5E089A268BA6}"/>
              </a:ext>
            </a:extLst>
          </p:cNvPr>
          <p:cNvSpPr txBox="1"/>
          <p:nvPr/>
        </p:nvSpPr>
        <p:spPr bwMode="gray">
          <a:xfrm>
            <a:off x="409575" y="6516000"/>
            <a:ext cx="11376000" cy="144000"/>
          </a:xfrm>
          <a:prstGeom prst="rect">
            <a:avLst/>
          </a:prstGeom>
          <a:noFill/>
        </p:spPr>
        <p:txBody>
          <a:bodyPr wrap="square" lIns="0" tIns="0" rIns="0" bIns="0" rtlCol="0" anchor="t">
            <a:no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3F74"/>
              </a:buClr>
              <a:buSzTx/>
              <a:buFontTx/>
              <a:buNone/>
              <a:tabLst/>
              <a:defRPr/>
            </a:pP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chemeClr val="tx2"/>
                </a:solidFill>
                <a:effectLst/>
                <a:uLnTx/>
                <a:uFillTx/>
              </a:rPr>
              <a:t>Union Investment  </a:t>
            </a: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|  Genossenschaftliche </a:t>
            </a:r>
            <a:r>
              <a:rPr kumimoji="0" lang="de-DE" sz="1000" b="0" i="0" u="none" strike="noStrike" kern="0" cap="none" spc="0" normalizeH="0" baseline="0" noProof="0" err="1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FinanzGruppe</a:t>
            </a:r>
            <a:r>
              <a:rPr kumimoji="0" lang="de-DE" sz="1000" b="0" i="0" u="none" strike="noStrike" kern="0" cap="none" spc="0" normalizeH="0" baseline="0" noProof="0">
                <a:ln>
                  <a:noFill/>
                </a:ln>
                <a:solidFill>
                  <a:srgbClr val="888888"/>
                </a:solidFill>
                <a:effectLst/>
                <a:uLnTx/>
                <a:uFillTx/>
              </a:rPr>
              <a:t> Volksbanken Raiffeisenbanken</a:t>
            </a:r>
          </a:p>
        </p:txBody>
      </p:sp>
      <p:grpSp>
        <p:nvGrpSpPr>
          <p:cNvPr id="12" name="Gruppieren 11">
            <a:extLst>
              <a:ext uri="{FF2B5EF4-FFF2-40B4-BE49-F238E27FC236}">
                <a16:creationId xmlns:a16="http://schemas.microsoft.com/office/drawing/2014/main" id="{3455FB74-A8E0-4F36-92C2-9DC1D275267B}"/>
              </a:ext>
            </a:extLst>
          </p:cNvPr>
          <p:cNvGrpSpPr/>
          <p:nvPr/>
        </p:nvGrpSpPr>
        <p:grpSpPr bwMode="gray">
          <a:xfrm>
            <a:off x="4707719" y="2586267"/>
            <a:ext cx="2073936" cy="387798"/>
            <a:chOff x="2781313" y="2784724"/>
            <a:chExt cx="2073936" cy="387798"/>
          </a:xfrm>
        </p:grpSpPr>
        <p:sp>
          <p:nvSpPr>
            <p:cNvPr id="46" name="Textfeld 45">
              <a:extLst>
                <a:ext uri="{FF2B5EF4-FFF2-40B4-BE49-F238E27FC236}">
                  <a16:creationId xmlns:a16="http://schemas.microsoft.com/office/drawing/2014/main" id="{6934D7FA-F6C5-43D8-814F-8D492726B1C7}"/>
                </a:ext>
              </a:extLst>
            </p:cNvPr>
            <p:cNvSpPr txBox="1"/>
            <p:nvPr/>
          </p:nvSpPr>
          <p:spPr bwMode="gray">
            <a:xfrm>
              <a:off x="2781313" y="2784724"/>
              <a:ext cx="1281936" cy="387798"/>
            </a:xfrm>
            <a:prstGeom prst="rect">
              <a:avLst/>
            </a:prstGeom>
            <a:noFill/>
          </p:spPr>
          <p:txBody>
            <a:bodyPr wrap="none" lIns="0" tIns="0" rIns="144000" bIns="0" rtlCol="0" anchor="ctr">
              <a:spAutoFit/>
            </a:bodyPr>
            <a:lstStyle/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 b="1">
                  <a:solidFill>
                    <a:schemeClr val="tx2"/>
                  </a:solidFill>
                </a:rPr>
                <a:t>916,5 Mio.€</a:t>
              </a:r>
            </a:p>
            <a:p>
              <a:pPr marL="0" indent="0" algn="r">
                <a:lnSpc>
                  <a:spcPct val="90000"/>
                </a:lnSpc>
                <a:buClr>
                  <a:schemeClr val="accent1"/>
                </a:buClr>
                <a:buFontTx/>
                <a:buNone/>
              </a:pPr>
              <a:r>
                <a:rPr lang="de-DE" sz="1400">
                  <a:solidFill>
                    <a:schemeClr val="accent2"/>
                  </a:solidFill>
                </a:rPr>
                <a:t>2,1</a:t>
              </a:r>
              <a:r>
                <a:rPr lang="de-DE" sz="1400" spc="-150">
                  <a:solidFill>
                    <a:schemeClr val="accent2"/>
                  </a:solidFill>
                </a:rPr>
                <a:t> </a:t>
              </a:r>
              <a:r>
                <a:rPr lang="de-DE" sz="1400">
                  <a:solidFill>
                    <a:schemeClr val="accent2"/>
                  </a:solidFill>
                </a:rPr>
                <a:t>%  </a:t>
              </a:r>
              <a:r>
                <a:rPr lang="de-DE" sz="1400"/>
                <a:t>Belgien</a:t>
              </a:r>
            </a:p>
          </p:txBody>
        </p:sp>
        <p:cxnSp>
          <p:nvCxnSpPr>
            <p:cNvPr id="78" name="Gerader Verbinder 77">
              <a:extLst>
                <a:ext uri="{FF2B5EF4-FFF2-40B4-BE49-F238E27FC236}">
                  <a16:creationId xmlns:a16="http://schemas.microsoft.com/office/drawing/2014/main" id="{0B6B1BA6-721A-427C-B4A4-C86986ED734D}"/>
                </a:ext>
              </a:extLst>
            </p:cNvPr>
            <p:cNvCxnSpPr>
              <a:cxnSpLocks/>
            </p:cNvCxnSpPr>
            <p:nvPr/>
          </p:nvCxnSpPr>
          <p:spPr bwMode="gray">
            <a:xfrm>
              <a:off x="4063249" y="2892736"/>
              <a:ext cx="792000" cy="0"/>
            </a:xfrm>
            <a:prstGeom prst="line">
              <a:avLst/>
            </a:prstGeom>
            <a:ln w="9525">
              <a:solidFill>
                <a:srgbClr val="888888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9" name="Inhaltsplatzhalter 8">
            <a:extLst>
              <a:ext uri="{FF2B5EF4-FFF2-40B4-BE49-F238E27FC236}">
                <a16:creationId xmlns:a16="http://schemas.microsoft.com/office/drawing/2014/main" id="{C3B53DBE-6E17-4C76-912C-7EA785E12B82}"/>
              </a:ext>
            </a:extLst>
          </p:cNvPr>
          <p:cNvGraphicFramePr>
            <a:graphicFrameLocks noGrp="1"/>
          </p:cNvGraphicFramePr>
          <p:nvPr>
            <p:ph sz="quarter" idx="14"/>
          </p:nvPr>
        </p:nvGraphicFramePr>
        <p:xfrm>
          <a:off x="3793331" y="1412875"/>
          <a:ext cx="7879240" cy="48958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4" name="Datumsplatzhalter 13">
            <a:extLst>
              <a:ext uri="{FF2B5EF4-FFF2-40B4-BE49-F238E27FC236}">
                <a16:creationId xmlns:a16="http://schemas.microsoft.com/office/drawing/2014/main" id="{19F01600-90D4-47FA-B415-6094BF6FFF2C}"/>
              </a:ext>
            </a:extLst>
          </p:cNvPr>
          <p:cNvSpPr>
            <a:spLocks noGrp="1"/>
          </p:cNvSpPr>
          <p:nvPr>
            <p:ph type="dt" sz="half" idx="24"/>
          </p:nvPr>
        </p:nvSpPr>
        <p:spPr/>
        <p:txBody>
          <a:bodyPr/>
          <a:lstStyle/>
          <a:p>
            <a:r>
              <a:rPr lang="de-DE"/>
              <a:t>22.09.2022</a:t>
            </a:r>
          </a:p>
        </p:txBody>
      </p:sp>
      <p:sp>
        <p:nvSpPr>
          <p:cNvPr id="15" name="Fußzeilenplatzhalter 14">
            <a:extLst>
              <a:ext uri="{FF2B5EF4-FFF2-40B4-BE49-F238E27FC236}">
                <a16:creationId xmlns:a16="http://schemas.microsoft.com/office/drawing/2014/main" id="{86D96F33-6450-4B71-9C37-354D6BE8868E}"/>
              </a:ext>
            </a:extLst>
          </p:cNvPr>
          <p:cNvSpPr>
            <a:spLocks noGrp="1"/>
          </p:cNvSpPr>
          <p:nvPr>
            <p:ph type="ftr" sz="quarter" idx="25"/>
          </p:nvPr>
        </p:nvSpPr>
        <p:spPr/>
        <p:txBody>
          <a:bodyPr/>
          <a:lstStyle/>
          <a:p>
            <a:r>
              <a:rPr lang="en-US"/>
              <a:t>Union Investmet Real Estate GmbH  |  JvM  |</a:t>
            </a:r>
            <a:endParaRPr lang="de-DE"/>
          </a:p>
        </p:txBody>
      </p:sp>
      <p:sp>
        <p:nvSpPr>
          <p:cNvPr id="19" name="Foliennummernplatzhalter 18">
            <a:extLst>
              <a:ext uri="{FF2B5EF4-FFF2-40B4-BE49-F238E27FC236}">
                <a16:creationId xmlns:a16="http://schemas.microsoft.com/office/drawing/2014/main" id="{948F3A86-3F78-4A21-AF36-9DF4E5FB0A83}"/>
              </a:ext>
            </a:extLst>
          </p:cNvPr>
          <p:cNvSpPr>
            <a:spLocks noGrp="1"/>
          </p:cNvSpPr>
          <p:nvPr>
            <p:ph type="sldNum" sz="quarter" idx="26"/>
          </p:nvPr>
        </p:nvSpPr>
        <p:spPr/>
        <p:txBody>
          <a:bodyPr/>
          <a:lstStyle/>
          <a:p>
            <a:fld id="{9C89B081-1F44-4440-BC7B-989C90F97B77}" type="slidenum">
              <a:rPr lang="de-DE" smtClean="0"/>
              <a:pPr/>
              <a:t>3</a:t>
            </a:fld>
            <a:endParaRPr lang="de-DE"/>
          </a:p>
        </p:txBody>
      </p:sp>
    </p:spTree>
    <p:extLst>
      <p:ext uri="{BB962C8B-B14F-4D97-AF65-F5344CB8AC3E}">
        <p14:creationId xmlns:p14="http://schemas.microsoft.com/office/powerpoint/2010/main" val="3786050702"/>
      </p:ext>
    </p:extLst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49" presetClass="entr" presetSubtype="0" decel="100000" fill="hold" nodeType="withEffect">
                                  <p:stCondLst>
                                    <p:cond delay="1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1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2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3" dur="500" fill="hold"/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rotation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360"/>
                                          </p:val>
                                        </p:tav>
                                        <p:tav tm="100000">
                                          <p:val>
                                            <p:fltVal val="0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14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5" fill="hold">
                            <p:stCondLst>
                              <p:cond delay="600"/>
                            </p:stCondLst>
                            <p:childTnLst>
                              <p:par>
                                <p:cTn id="1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8" dur="500"/>
                                        <p:tgtEl>
                                          <p:spTgt spid="9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100"/>
                            </p:stCondLst>
                            <p:childTnLst>
                              <p:par>
                                <p:cTn id="20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9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3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25" dur="500"/>
                                        <p:tgtEl>
                                          <p:spTgt spid="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1600"/>
                            </p:stCondLst>
                            <p:childTnLst>
                              <p:par>
                                <p:cTn id="27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9" dur="500"/>
                                        <p:tgtEl>
                                          <p:spTgt spid="9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0" presetID="22" presetClass="entr" presetSubtype="8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32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3" fill="hold">
                            <p:stCondLst>
                              <p:cond delay="2100"/>
                            </p:stCondLst>
                            <p:childTnLst>
                              <p:par>
                                <p:cTn id="34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9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37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39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0" fill="hold">
                            <p:stCondLst>
                              <p:cond delay="2600"/>
                            </p:stCondLst>
                            <p:childTnLst>
                              <p:par>
                                <p:cTn id="41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3" dur="500"/>
                                        <p:tgtEl>
                                          <p:spTgt spid="9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44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46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7" fill="hold">
                            <p:stCondLst>
                              <p:cond delay="3100"/>
                            </p:stCondLst>
                            <p:childTnLst>
                              <p:par>
                                <p:cTn id="48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0" dur="500"/>
                                        <p:tgtEl>
                                          <p:spTgt spid="9">
                                            <p:graphicEl>
                                              <a:chart seriesIdx="-4" categoryIdx="4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1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53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3600"/>
                            </p:stCondLst>
                            <p:childTnLst>
                              <p:par>
                                <p:cTn id="5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9">
                                            <p:graphicEl>
                                              <a:chart seriesIdx="-4" categoryIdx="5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58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0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1" fill="hold">
                            <p:stCondLst>
                              <p:cond delay="4100"/>
                            </p:stCondLst>
                            <p:childTnLst>
                              <p:par>
                                <p:cTn id="6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4" dur="500"/>
                                        <p:tgtEl>
                                          <p:spTgt spid="9">
                                            <p:graphicEl>
                                              <a:chart seriesIdx="-4" categoryIdx="6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65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6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8" fill="hold">
                            <p:stCondLst>
                              <p:cond delay="4600"/>
                            </p:stCondLst>
                            <p:childTnLst>
                              <p:par>
                                <p:cTn id="69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9">
                                            <p:graphicEl>
                                              <a:chart seriesIdx="-4" categoryIdx="7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2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74" dur="5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75" fill="hold">
                            <p:stCondLst>
                              <p:cond delay="5100"/>
                            </p:stCondLst>
                            <p:childTnLst>
                              <p:par>
                                <p:cTn id="76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8" dur="500"/>
                                        <p:tgtEl>
                                          <p:spTgt spid="9">
                                            <p:graphicEl>
                                              <a:chart seriesIdx="-4" categoryIdx="8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79" presetID="22" presetClass="entr" presetSubtype="2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right)">
                                      <p:cBhvr>
                                        <p:cTn id="81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9" grpId="0" uiExpand="1">
        <p:bldSub>
          <a:bldChart bld="category"/>
        </p:bldSub>
      </p:bldGraphic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el 4">
            <a:extLst>
              <a:ext uri="{FF2B5EF4-FFF2-40B4-BE49-F238E27FC236}">
                <a16:creationId xmlns:a16="http://schemas.microsoft.com/office/drawing/2014/main" id="{AED10270-FF9E-4B3E-AE71-D377A434C6B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dirty="0"/>
              <a:t>Neubau ist keine Alternative – der </a:t>
            </a:r>
            <a:r>
              <a:rPr lang="de-DE" dirty="0">
                <a:solidFill>
                  <a:schemeClr val="accent2"/>
                </a:solidFill>
              </a:rPr>
              <a:t>Bestand ist die Lösung</a:t>
            </a:r>
            <a:r>
              <a:rPr lang="de-DE" dirty="0"/>
              <a:t>!</a:t>
            </a:r>
          </a:p>
        </p:txBody>
      </p:sp>
      <p:sp>
        <p:nvSpPr>
          <p:cNvPr id="6" name="Datumsplatzhalter 5">
            <a:extLst>
              <a:ext uri="{FF2B5EF4-FFF2-40B4-BE49-F238E27FC236}">
                <a16:creationId xmlns:a16="http://schemas.microsoft.com/office/drawing/2014/main" id="{2584DC7D-1485-41E8-9E88-701419B45EF9}"/>
              </a:ext>
            </a:extLst>
          </p:cNvPr>
          <p:cNvSpPr>
            <a:spLocks noGrp="1"/>
          </p:cNvSpPr>
          <p:nvPr>
            <p:ph type="dt" sz="half" idx="27"/>
          </p:nvPr>
        </p:nvSpPr>
        <p:spPr/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DF4B964B-7995-4024-AE57-52A8C5C37719}"/>
              </a:ext>
            </a:extLst>
          </p:cNvPr>
          <p:cNvSpPr>
            <a:spLocks noGrp="1"/>
          </p:cNvSpPr>
          <p:nvPr>
            <p:ph type="ftr" sz="quarter" idx="28"/>
          </p:nvPr>
        </p:nvSpPr>
        <p:spPr/>
        <p:txBody>
          <a:bodyPr/>
          <a:lstStyle/>
          <a:p>
            <a:r>
              <a:rPr lang="en-US"/>
              <a:t>Union Investmet Real Estate GmbH  |  JvM  |</a:t>
            </a:r>
            <a:endParaRPr lang="de-DE" dirty="0"/>
          </a:p>
        </p:txBody>
      </p:sp>
      <p:sp>
        <p:nvSpPr>
          <p:cNvPr id="8" name="Foliennummernplatzhalter 7">
            <a:extLst>
              <a:ext uri="{FF2B5EF4-FFF2-40B4-BE49-F238E27FC236}">
                <a16:creationId xmlns:a16="http://schemas.microsoft.com/office/drawing/2014/main" id="{165403F0-C78A-4B0A-BAFB-7AD0E4BBFA36}"/>
              </a:ext>
            </a:extLst>
          </p:cNvPr>
          <p:cNvSpPr>
            <a:spLocks noGrp="1"/>
          </p:cNvSpPr>
          <p:nvPr>
            <p:ph type="sldNum" sz="quarter" idx="29"/>
          </p:nvPr>
        </p:nvSpPr>
        <p:spPr/>
        <p:txBody>
          <a:bodyPr/>
          <a:lstStyle/>
          <a:p>
            <a:fld id="{9C89B081-1F44-4440-BC7B-989C90F97B77}" type="slidenum">
              <a:rPr lang="de-DE" smtClean="0"/>
              <a:pPr/>
              <a:t>4</a:t>
            </a:fld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8817212C-8F55-4BA7-95C2-B9C747DF6484}"/>
              </a:ext>
            </a:extLst>
          </p:cNvPr>
          <p:cNvSpPr/>
          <p:nvPr/>
        </p:nvSpPr>
        <p:spPr>
          <a:xfrm>
            <a:off x="0" y="1412876"/>
            <a:ext cx="11785550" cy="1044000"/>
          </a:xfrm>
          <a:prstGeom prst="rect">
            <a:avLst/>
          </a:prstGeom>
          <a:solidFill>
            <a:srgbClr val="C8D5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indent="0" algn="l">
              <a:spcBef>
                <a:spcPts val="600"/>
              </a:spcBef>
              <a:buClr>
                <a:schemeClr val="accent1"/>
              </a:buClr>
              <a:buFontTx/>
              <a:buNone/>
            </a:pPr>
            <a:endParaRPr lang="de-DE" sz="1400" dirty="0" err="1">
              <a:solidFill>
                <a:schemeClr val="tx1"/>
              </a:solidFill>
            </a:endParaRPr>
          </a:p>
        </p:txBody>
      </p:sp>
      <p:sp>
        <p:nvSpPr>
          <p:cNvPr id="18" name="Textfeld 17">
            <a:extLst>
              <a:ext uri="{FF2B5EF4-FFF2-40B4-BE49-F238E27FC236}">
                <a16:creationId xmlns:a16="http://schemas.microsoft.com/office/drawing/2014/main" id="{1558D3F8-1A4E-42D6-88E9-50A54A7FFA8C}"/>
              </a:ext>
            </a:extLst>
          </p:cNvPr>
          <p:cNvSpPr txBox="1"/>
          <p:nvPr/>
        </p:nvSpPr>
        <p:spPr>
          <a:xfrm>
            <a:off x="1597087" y="1688655"/>
            <a:ext cx="10189130" cy="492443"/>
          </a:xfrm>
          <a:prstGeom prst="rect">
            <a:avLst/>
          </a:prstGeom>
          <a:noFill/>
        </p:spPr>
        <p:txBody>
          <a:bodyPr wrap="square" lIns="0" tIns="0" rIns="0" bIns="0" anchor="ctr">
            <a:spAutoFit/>
          </a:bodyPr>
          <a:lstStyle/>
          <a:p>
            <a:pPr>
              <a:spcBef>
                <a:spcPts val="400"/>
              </a:spcBef>
            </a:pPr>
            <a:r>
              <a:rPr lang="de-DE" sz="1600" dirty="0">
                <a:solidFill>
                  <a:schemeClr val="accent1"/>
                </a:solidFill>
              </a:rPr>
              <a:t>CO2-Emissionen bei Gebäuden verteilen sich auch Bau und Betrieb</a:t>
            </a:r>
            <a:br>
              <a:rPr lang="de-DE" sz="1600" dirty="0">
                <a:solidFill>
                  <a:schemeClr val="accent1"/>
                </a:solidFill>
              </a:rPr>
            </a:br>
            <a:r>
              <a:rPr lang="de-DE" sz="1600" dirty="0">
                <a:solidFill>
                  <a:schemeClr val="dk2"/>
                </a:solidFill>
              </a:rPr>
              <a:t>Anteil der </a:t>
            </a:r>
            <a:r>
              <a:rPr lang="de-DE" sz="1600" b="1" i="1" dirty="0">
                <a:solidFill>
                  <a:schemeClr val="accent2"/>
                </a:solidFill>
              </a:rPr>
              <a:t>Grauen Energie </a:t>
            </a:r>
            <a:r>
              <a:rPr lang="de-DE" sz="1600" dirty="0">
                <a:solidFill>
                  <a:schemeClr val="dk2"/>
                </a:solidFill>
              </a:rPr>
              <a:t>liegt in der Lebenszyklusbetrachtung zwischen 20% und 90% </a:t>
            </a:r>
          </a:p>
        </p:txBody>
      </p:sp>
      <p:sp>
        <p:nvSpPr>
          <p:cNvPr id="3" name="Textplatzhalter 2">
            <a:extLst>
              <a:ext uri="{FF2B5EF4-FFF2-40B4-BE49-F238E27FC236}">
                <a16:creationId xmlns:a16="http://schemas.microsoft.com/office/drawing/2014/main" id="{078F15CE-D9E7-4408-9494-CCDFA9567081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/>
        <p:txBody>
          <a:bodyPr/>
          <a:lstStyle/>
          <a:p>
            <a:r>
              <a:rPr lang="de-DE" dirty="0"/>
              <a:t>Bild: S. </a:t>
            </a:r>
            <a:r>
              <a:rPr lang="de-DE" dirty="0" err="1"/>
              <a:t>Smedley</a:t>
            </a:r>
            <a:r>
              <a:rPr lang="de-DE" dirty="0"/>
              <a:t> </a:t>
            </a:r>
            <a:r>
              <a:rPr lang="de-DE" dirty="0" err="1"/>
              <a:t>Skanska</a:t>
            </a:r>
            <a:endParaRPr lang="de-DE" dirty="0"/>
          </a:p>
        </p:txBody>
      </p:sp>
      <p:pic>
        <p:nvPicPr>
          <p:cNvPr id="24" name="Inhaltsplatzhalter 8">
            <a:extLst>
              <a:ext uri="{FF2B5EF4-FFF2-40B4-BE49-F238E27FC236}">
                <a16:creationId xmlns:a16="http://schemas.microsoft.com/office/drawing/2014/main" id="{B0731F15-B421-4190-8ECA-9D270B6B8F1F}"/>
              </a:ext>
            </a:extLst>
          </p:cNvPr>
          <p:cNvPicPr>
            <a:picLocks noGrp="1" noChangeAspect="1"/>
          </p:cNvPicPr>
          <p:nvPr>
            <p:ph sz="quarter" idx="24"/>
          </p:nvPr>
        </p:nvPicPr>
        <p:blipFill rotWithShape="1">
          <a:blip r:embed="rId4"/>
          <a:srcRect t="15128"/>
          <a:stretch/>
        </p:blipFill>
        <p:spPr>
          <a:xfrm>
            <a:off x="331631" y="3391597"/>
            <a:ext cx="5472113" cy="2413667"/>
          </a:xfrm>
        </p:spPr>
      </p:pic>
      <p:pic>
        <p:nvPicPr>
          <p:cNvPr id="26" name="Kran Weiß/UI-Grün">
            <a:extLst>
              <a:ext uri="{FF2B5EF4-FFF2-40B4-BE49-F238E27FC236}">
                <a16:creationId xmlns:a16="http://schemas.microsoft.com/office/drawing/2014/main" id="{795E4ACD-6FB6-4381-B4E1-77B208B9C816}"/>
              </a:ext>
            </a:extLst>
          </p:cNvPr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272942" y="1847969"/>
            <a:ext cx="396000" cy="396000"/>
          </a:xfrm>
          <a:prstGeom prst="rect">
            <a:avLst/>
          </a:prstGeom>
        </p:spPr>
      </p:pic>
      <p:pic>
        <p:nvPicPr>
          <p:cNvPr id="27" name="Haus Hochhaus Weiß/UI-Grün">
            <a:extLst>
              <a:ext uri="{FF2B5EF4-FFF2-40B4-BE49-F238E27FC236}">
                <a16:creationId xmlns:a16="http://schemas.microsoft.com/office/drawing/2014/main" id="{BBC82976-7AD7-4155-80C3-71BA2557E572}"/>
              </a:ext>
            </a:extLst>
          </p:cNvPr>
          <p:cNvPicPr>
            <a:picLocks noChangeAspect="1"/>
          </p:cNvPicPr>
          <p:nvPr>
            <p:custDataLst>
              <p:tags r:id="rId2"/>
            </p:custDataLst>
          </p:nvPr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669694" y="1625372"/>
            <a:ext cx="618597" cy="618597"/>
          </a:xfrm>
          <a:prstGeom prst="rect">
            <a:avLst/>
          </a:prstGeom>
        </p:spPr>
      </p:pic>
      <p:sp>
        <p:nvSpPr>
          <p:cNvPr id="29" name="Rectangle 216">
            <a:extLst>
              <a:ext uri="{FF2B5EF4-FFF2-40B4-BE49-F238E27FC236}">
                <a16:creationId xmlns:a16="http://schemas.microsoft.com/office/drawing/2014/main" id="{32FB7CA9-3FA7-451E-A627-68DD2CBBBB66}"/>
              </a:ext>
            </a:extLst>
          </p:cNvPr>
          <p:cNvSpPr>
            <a:spLocks noChangeArrowheads="1"/>
          </p:cNvSpPr>
          <p:nvPr/>
        </p:nvSpPr>
        <p:spPr bwMode="gray">
          <a:xfrm>
            <a:off x="6255465" y="2564904"/>
            <a:ext cx="5458746" cy="456601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</a:pPr>
            <a:r>
              <a:rPr lang="de-DE" b="1" dirty="0">
                <a:solidFill>
                  <a:schemeClr val="tx2"/>
                </a:solidFill>
              </a:rPr>
              <a:t>Hürden der Transformation</a:t>
            </a:r>
          </a:p>
        </p:txBody>
      </p:sp>
      <p:grpSp>
        <p:nvGrpSpPr>
          <p:cNvPr id="30" name="Gruppieren 29">
            <a:extLst>
              <a:ext uri="{FF2B5EF4-FFF2-40B4-BE49-F238E27FC236}">
                <a16:creationId xmlns:a16="http://schemas.microsoft.com/office/drawing/2014/main" id="{0D0DDB09-6C36-43AB-B1A6-CBC7055BD8C9}"/>
              </a:ext>
            </a:extLst>
          </p:cNvPr>
          <p:cNvGrpSpPr/>
          <p:nvPr/>
        </p:nvGrpSpPr>
        <p:grpSpPr bwMode="gray">
          <a:xfrm>
            <a:off x="6241737" y="2946536"/>
            <a:ext cx="5472000" cy="504000"/>
            <a:chOff x="409214" y="1808820"/>
            <a:chExt cx="5472000" cy="504000"/>
          </a:xfrm>
        </p:grpSpPr>
        <p:sp>
          <p:nvSpPr>
            <p:cNvPr id="31" name="Rectangle 172">
              <a:extLst>
                <a:ext uri="{FF2B5EF4-FFF2-40B4-BE49-F238E27FC236}">
                  <a16:creationId xmlns:a16="http://schemas.microsoft.com/office/drawing/2014/main" id="{83F8021C-2DE8-48B9-A159-5E1F38F10A2C}"/>
                </a:ext>
              </a:extLst>
            </p:cNvPr>
            <p:cNvSpPr/>
            <p:nvPr/>
          </p:nvSpPr>
          <p:spPr bwMode="gray">
            <a:xfrm>
              <a:off x="409214" y="1808820"/>
              <a:ext cx="5472000" cy="504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accent2"/>
                  </a:solidFill>
                </a:rPr>
                <a:t>Abriss/Neubau </a:t>
              </a:r>
              <a:r>
                <a:rPr lang="de-DE" sz="1400" dirty="0">
                  <a:solidFill>
                    <a:schemeClr val="tx1"/>
                  </a:solidFill>
                </a:rPr>
                <a:t>aus ökologischer Gesamtbetrachtung besonders schädlich aufgrund von verbauten Emissionen</a:t>
              </a:r>
            </a:p>
          </p:txBody>
        </p:sp>
        <p:grpSp>
          <p:nvGrpSpPr>
            <p:cNvPr id="32" name="Gruppieren 31">
              <a:extLst>
                <a:ext uri="{FF2B5EF4-FFF2-40B4-BE49-F238E27FC236}">
                  <a16:creationId xmlns:a16="http://schemas.microsoft.com/office/drawing/2014/main" id="{C294E9B1-09DF-4D83-9217-4757054AC541}"/>
                </a:ext>
              </a:extLst>
            </p:cNvPr>
            <p:cNvGrpSpPr/>
            <p:nvPr/>
          </p:nvGrpSpPr>
          <p:grpSpPr bwMode="gray">
            <a:xfrm>
              <a:off x="409214" y="1808820"/>
              <a:ext cx="396000" cy="504000"/>
              <a:chOff x="409214" y="1808820"/>
              <a:chExt cx="396000" cy="504000"/>
            </a:xfrm>
          </p:grpSpPr>
          <p:sp>
            <p:nvSpPr>
              <p:cNvPr id="33" name="Rectangle 20">
                <a:extLst>
                  <a:ext uri="{FF2B5EF4-FFF2-40B4-BE49-F238E27FC236}">
                    <a16:creationId xmlns:a16="http://schemas.microsoft.com/office/drawing/2014/main" id="{648D3675-F5B7-4596-92AD-316235552F80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1808820"/>
                <a:ext cx="396000" cy="504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34" name="Freeform 2262">
                <a:extLst>
                  <a:ext uri="{FF2B5EF4-FFF2-40B4-BE49-F238E27FC236}">
                    <a16:creationId xmlns:a16="http://schemas.microsoft.com/office/drawing/2014/main" id="{48B1777F-A9E9-49D8-81E8-981974D61082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1912523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9" name="Gruppieren 8">
            <a:extLst>
              <a:ext uri="{FF2B5EF4-FFF2-40B4-BE49-F238E27FC236}">
                <a16:creationId xmlns:a16="http://schemas.microsoft.com/office/drawing/2014/main" id="{07FA85A2-0B1C-4CB4-9C62-F864AFF39DC6}"/>
              </a:ext>
            </a:extLst>
          </p:cNvPr>
          <p:cNvGrpSpPr/>
          <p:nvPr/>
        </p:nvGrpSpPr>
        <p:grpSpPr>
          <a:xfrm>
            <a:off x="6241737" y="4287044"/>
            <a:ext cx="5544480" cy="504000"/>
            <a:chOff x="6241737" y="4630373"/>
            <a:chExt cx="5544480" cy="504000"/>
          </a:xfrm>
        </p:grpSpPr>
        <p:sp>
          <p:nvSpPr>
            <p:cNvPr id="35" name="Rectangle 172">
              <a:extLst>
                <a:ext uri="{FF2B5EF4-FFF2-40B4-BE49-F238E27FC236}">
                  <a16:creationId xmlns:a16="http://schemas.microsoft.com/office/drawing/2014/main" id="{B24004E4-43AE-4894-9DF5-4AF464161F7B}"/>
                </a:ext>
              </a:extLst>
            </p:cNvPr>
            <p:cNvSpPr/>
            <p:nvPr/>
          </p:nvSpPr>
          <p:spPr bwMode="gray">
            <a:xfrm>
              <a:off x="6241737" y="4630373"/>
              <a:ext cx="5544480" cy="504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accent2"/>
                  </a:solidFill>
                </a:rPr>
                <a:t>Core Investoren </a:t>
              </a:r>
              <a:r>
                <a:rPr lang="de-DE" sz="1400" dirty="0">
                  <a:solidFill>
                    <a:schemeClr val="tx1"/>
                  </a:solidFill>
                </a:rPr>
                <a:t>investieren häufig in Neubau, wenn vorher ein Abriss erfolgte, da gute Lagen i.d.R. bebaut</a:t>
              </a:r>
            </a:p>
          </p:txBody>
        </p:sp>
        <p:sp>
          <p:nvSpPr>
            <p:cNvPr id="36" name="Rectangle 20">
              <a:extLst>
                <a:ext uri="{FF2B5EF4-FFF2-40B4-BE49-F238E27FC236}">
                  <a16:creationId xmlns:a16="http://schemas.microsoft.com/office/drawing/2014/main" id="{776C8BC5-F837-4817-8C67-F0C3B6952102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241737" y="4630373"/>
              <a:ext cx="396000" cy="504000"/>
            </a:xfrm>
            <a:prstGeom prst="rect">
              <a:avLst/>
            </a:prstGeom>
            <a:solidFill>
              <a:schemeClr val="accent2"/>
            </a:solidFill>
            <a:ln w="6350">
              <a:noFill/>
              <a:miter lim="800000"/>
              <a:headEnd/>
              <a:tailEnd/>
            </a:ln>
          </p:spPr>
          <p:txBody>
            <a:bodyPr wrap="square" lIns="0" tIns="72000" rIns="0" bIns="72000" rtlCol="0" anchor="ctr">
              <a:noAutofit/>
            </a:bodyPr>
            <a:lstStyle/>
            <a:p>
              <a:pPr algn="ctr" defTabSz="963613" eaLnBrk="0" fontAlgn="auto" hangingPunct="0">
                <a:spcBef>
                  <a:spcPts val="400"/>
                </a:spcBef>
                <a:spcAft>
                  <a:spcPts val="0"/>
                </a:spcAft>
                <a:tabLst>
                  <a:tab pos="1257300" algn="l"/>
                </a:tabLst>
                <a:defRPr/>
              </a:pPr>
              <a:endParaRPr lang="de-DE" sz="1400" b="1" kern="0" dirty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7" name="Freeform 2262">
              <a:extLst>
                <a:ext uri="{FF2B5EF4-FFF2-40B4-BE49-F238E27FC236}">
                  <a16:creationId xmlns:a16="http://schemas.microsoft.com/office/drawing/2014/main" id="{07ACF17F-3021-4145-8A54-F00D80D52404}"/>
                </a:ext>
              </a:extLst>
            </p:cNvPr>
            <p:cNvSpPr>
              <a:spLocks noChangeAspect="1"/>
            </p:cNvSpPr>
            <p:nvPr/>
          </p:nvSpPr>
          <p:spPr bwMode="gray">
            <a:xfrm>
              <a:off x="6351334" y="4734076"/>
              <a:ext cx="176806" cy="293794"/>
            </a:xfrm>
            <a:custGeom>
              <a:avLst/>
              <a:gdLst>
                <a:gd name="T0" fmla="*/ 526 w 5723"/>
                <a:gd name="T1" fmla="*/ 9502 h 9502"/>
                <a:gd name="T2" fmla="*/ 175 w 5723"/>
                <a:gd name="T3" fmla="*/ 9346 h 9502"/>
                <a:gd name="T4" fmla="*/ 210 w 5723"/>
                <a:gd name="T5" fmla="*/ 8679 h 9502"/>
                <a:gd name="T6" fmla="*/ 4544 w 5723"/>
                <a:gd name="T7" fmla="*/ 4778 h 9502"/>
                <a:gd name="T8" fmla="*/ 210 w 5723"/>
                <a:gd name="T9" fmla="*/ 877 h 9502"/>
                <a:gd name="T10" fmla="*/ 175 w 5723"/>
                <a:gd name="T11" fmla="*/ 210 h 9502"/>
                <a:gd name="T12" fmla="*/ 842 w 5723"/>
                <a:gd name="T13" fmla="*/ 175 h 9502"/>
                <a:gd name="T14" fmla="*/ 5566 w 5723"/>
                <a:gd name="T15" fmla="*/ 4427 h 9502"/>
                <a:gd name="T16" fmla="*/ 5723 w 5723"/>
                <a:gd name="T17" fmla="*/ 4778 h 9502"/>
                <a:gd name="T18" fmla="*/ 5566 w 5723"/>
                <a:gd name="T19" fmla="*/ 5129 h 9502"/>
                <a:gd name="T20" fmla="*/ 842 w 5723"/>
                <a:gd name="T21" fmla="*/ 9381 h 9502"/>
                <a:gd name="T22" fmla="*/ 526 w 5723"/>
                <a:gd name="T23" fmla="*/ 9502 h 950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5723" h="9502">
                  <a:moveTo>
                    <a:pt x="526" y="9502"/>
                  </a:moveTo>
                  <a:cubicBezTo>
                    <a:pt x="397" y="9502"/>
                    <a:pt x="268" y="9450"/>
                    <a:pt x="175" y="9346"/>
                  </a:cubicBezTo>
                  <a:cubicBezTo>
                    <a:pt x="0" y="9152"/>
                    <a:pt x="16" y="8853"/>
                    <a:pt x="210" y="8679"/>
                  </a:cubicBezTo>
                  <a:cubicBezTo>
                    <a:pt x="4544" y="4778"/>
                    <a:pt x="4544" y="4778"/>
                    <a:pt x="4544" y="4778"/>
                  </a:cubicBezTo>
                  <a:cubicBezTo>
                    <a:pt x="210" y="877"/>
                    <a:pt x="210" y="877"/>
                    <a:pt x="210" y="877"/>
                  </a:cubicBezTo>
                  <a:cubicBezTo>
                    <a:pt x="16" y="703"/>
                    <a:pt x="0" y="404"/>
                    <a:pt x="175" y="210"/>
                  </a:cubicBezTo>
                  <a:cubicBezTo>
                    <a:pt x="349" y="16"/>
                    <a:pt x="648" y="0"/>
                    <a:pt x="842" y="175"/>
                  </a:cubicBezTo>
                  <a:cubicBezTo>
                    <a:pt x="5566" y="4427"/>
                    <a:pt x="5566" y="4427"/>
                    <a:pt x="5566" y="4427"/>
                  </a:cubicBezTo>
                  <a:cubicBezTo>
                    <a:pt x="5666" y="4516"/>
                    <a:pt x="5723" y="4644"/>
                    <a:pt x="5723" y="4778"/>
                  </a:cubicBezTo>
                  <a:cubicBezTo>
                    <a:pt x="5723" y="4912"/>
                    <a:pt x="5666" y="5040"/>
                    <a:pt x="5566" y="5129"/>
                  </a:cubicBezTo>
                  <a:cubicBezTo>
                    <a:pt x="842" y="9381"/>
                    <a:pt x="842" y="9381"/>
                    <a:pt x="842" y="9381"/>
                  </a:cubicBezTo>
                  <a:cubicBezTo>
                    <a:pt x="752" y="9462"/>
                    <a:pt x="639" y="9502"/>
                    <a:pt x="526" y="9502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de-DE" dirty="0"/>
            </a:p>
          </p:txBody>
        </p:sp>
      </p:grpSp>
      <p:grpSp>
        <p:nvGrpSpPr>
          <p:cNvPr id="38" name="Gruppieren 37">
            <a:extLst>
              <a:ext uri="{FF2B5EF4-FFF2-40B4-BE49-F238E27FC236}">
                <a16:creationId xmlns:a16="http://schemas.microsoft.com/office/drawing/2014/main" id="{E5541E12-C10D-4F69-AB22-ADA42DF2E80A}"/>
              </a:ext>
            </a:extLst>
          </p:cNvPr>
          <p:cNvGrpSpPr/>
          <p:nvPr/>
        </p:nvGrpSpPr>
        <p:grpSpPr bwMode="gray">
          <a:xfrm>
            <a:off x="6241737" y="4957298"/>
            <a:ext cx="5472000" cy="504000"/>
            <a:chOff x="409214" y="3150603"/>
            <a:chExt cx="5472000" cy="504000"/>
          </a:xfrm>
        </p:grpSpPr>
        <p:sp>
          <p:nvSpPr>
            <p:cNvPr id="39" name="Rectangle 172">
              <a:extLst>
                <a:ext uri="{FF2B5EF4-FFF2-40B4-BE49-F238E27FC236}">
                  <a16:creationId xmlns:a16="http://schemas.microsoft.com/office/drawing/2014/main" id="{DF4E3463-6526-4889-93CB-A4BDB244E4BB}"/>
                </a:ext>
              </a:extLst>
            </p:cNvPr>
            <p:cNvSpPr/>
            <p:nvPr/>
          </p:nvSpPr>
          <p:spPr bwMode="gray">
            <a:xfrm>
              <a:off x="409214" y="3150603"/>
              <a:ext cx="5472000" cy="504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Investitionen dann nur in </a:t>
              </a:r>
              <a:r>
                <a:rPr lang="de-DE" sz="1400" b="1" dirty="0">
                  <a:solidFill>
                    <a:schemeClr val="accent2"/>
                  </a:solidFill>
                </a:rPr>
                <a:t>Bestand </a:t>
              </a:r>
              <a:r>
                <a:rPr lang="de-DE" sz="1400" dirty="0">
                  <a:solidFill>
                    <a:schemeClr val="tx1"/>
                  </a:solidFill>
                </a:rPr>
                <a:t>möglich, der energetisch ertüchtigt wurde oder wird</a:t>
              </a:r>
            </a:p>
          </p:txBody>
        </p:sp>
        <p:grpSp>
          <p:nvGrpSpPr>
            <p:cNvPr id="40" name="Gruppieren 39">
              <a:extLst>
                <a:ext uri="{FF2B5EF4-FFF2-40B4-BE49-F238E27FC236}">
                  <a16:creationId xmlns:a16="http://schemas.microsoft.com/office/drawing/2014/main" id="{973EFA7B-A083-47A3-943E-BB5F81407629}"/>
                </a:ext>
              </a:extLst>
            </p:cNvPr>
            <p:cNvGrpSpPr/>
            <p:nvPr/>
          </p:nvGrpSpPr>
          <p:grpSpPr bwMode="gray">
            <a:xfrm>
              <a:off x="409214" y="3150603"/>
              <a:ext cx="396000" cy="504000"/>
              <a:chOff x="409214" y="3150603"/>
              <a:chExt cx="396000" cy="504000"/>
            </a:xfrm>
          </p:grpSpPr>
          <p:sp>
            <p:nvSpPr>
              <p:cNvPr id="41" name="Rectangle 20">
                <a:extLst>
                  <a:ext uri="{FF2B5EF4-FFF2-40B4-BE49-F238E27FC236}">
                    <a16:creationId xmlns:a16="http://schemas.microsoft.com/office/drawing/2014/main" id="{7F97B420-7ADB-4A11-8CB2-EE746437E106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3150603"/>
                <a:ext cx="396000" cy="504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2" name="Freeform 2262">
                <a:extLst>
                  <a:ext uri="{FF2B5EF4-FFF2-40B4-BE49-F238E27FC236}">
                    <a16:creationId xmlns:a16="http://schemas.microsoft.com/office/drawing/2014/main" id="{0C2AD185-2983-4E34-8D28-78F560DB01E8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3252237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43" name="Gruppieren 42">
            <a:extLst>
              <a:ext uri="{FF2B5EF4-FFF2-40B4-BE49-F238E27FC236}">
                <a16:creationId xmlns:a16="http://schemas.microsoft.com/office/drawing/2014/main" id="{F94F96C7-D0A3-492C-B5D3-973EEBDFD58A}"/>
              </a:ext>
            </a:extLst>
          </p:cNvPr>
          <p:cNvGrpSpPr/>
          <p:nvPr/>
        </p:nvGrpSpPr>
        <p:grpSpPr bwMode="gray">
          <a:xfrm>
            <a:off x="6241737" y="3616790"/>
            <a:ext cx="5472000" cy="504000"/>
            <a:chOff x="409214" y="1808820"/>
            <a:chExt cx="5472000" cy="504000"/>
          </a:xfrm>
        </p:grpSpPr>
        <p:sp>
          <p:nvSpPr>
            <p:cNvPr id="44" name="Rectangle 172">
              <a:extLst>
                <a:ext uri="{FF2B5EF4-FFF2-40B4-BE49-F238E27FC236}">
                  <a16:creationId xmlns:a16="http://schemas.microsoft.com/office/drawing/2014/main" id="{D9DAF5D1-3003-427D-A4B9-EECD023E3701}"/>
                </a:ext>
              </a:extLst>
            </p:cNvPr>
            <p:cNvSpPr/>
            <p:nvPr/>
          </p:nvSpPr>
          <p:spPr bwMode="gray">
            <a:xfrm>
              <a:off x="409214" y="1808820"/>
              <a:ext cx="5472000" cy="504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Deutlich effizientere Neubau kann </a:t>
              </a:r>
              <a:r>
                <a:rPr lang="de-DE" sz="1400" b="1" dirty="0" err="1">
                  <a:solidFill>
                    <a:schemeClr val="accent2"/>
                  </a:solidFill>
                </a:rPr>
                <a:t>Embodied</a:t>
              </a:r>
              <a:r>
                <a:rPr lang="de-DE" sz="1400" b="1" dirty="0">
                  <a:solidFill>
                    <a:schemeClr val="accent2"/>
                  </a:solidFill>
                </a:rPr>
                <a:t> Carbon </a:t>
              </a:r>
              <a:r>
                <a:rPr lang="de-DE" sz="1400" dirty="0">
                  <a:solidFill>
                    <a:schemeClr val="tx1"/>
                  </a:solidFill>
                </a:rPr>
                <a:t>durch laufenden Betrieb nicht neutralisieren</a:t>
              </a:r>
            </a:p>
          </p:txBody>
        </p:sp>
        <p:grpSp>
          <p:nvGrpSpPr>
            <p:cNvPr id="45" name="Gruppieren 44">
              <a:extLst>
                <a:ext uri="{FF2B5EF4-FFF2-40B4-BE49-F238E27FC236}">
                  <a16:creationId xmlns:a16="http://schemas.microsoft.com/office/drawing/2014/main" id="{A5BB55BA-F08A-4AF2-8CC0-0CCEDBA4D029}"/>
                </a:ext>
              </a:extLst>
            </p:cNvPr>
            <p:cNvGrpSpPr/>
            <p:nvPr/>
          </p:nvGrpSpPr>
          <p:grpSpPr bwMode="gray">
            <a:xfrm>
              <a:off x="409214" y="1808820"/>
              <a:ext cx="396000" cy="504000"/>
              <a:chOff x="409214" y="1808820"/>
              <a:chExt cx="396000" cy="504000"/>
            </a:xfrm>
          </p:grpSpPr>
          <p:sp>
            <p:nvSpPr>
              <p:cNvPr id="46" name="Rectangle 20">
                <a:extLst>
                  <a:ext uri="{FF2B5EF4-FFF2-40B4-BE49-F238E27FC236}">
                    <a16:creationId xmlns:a16="http://schemas.microsoft.com/office/drawing/2014/main" id="{0102E9D9-BC32-48A0-86E5-7ABFAB7DE33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1808820"/>
                <a:ext cx="396000" cy="504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47" name="Freeform 2262">
                <a:extLst>
                  <a:ext uri="{FF2B5EF4-FFF2-40B4-BE49-F238E27FC236}">
                    <a16:creationId xmlns:a16="http://schemas.microsoft.com/office/drawing/2014/main" id="{21DB1048-814B-4C2E-AD4D-BDDC29DD13F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1912523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48" name="Gruppieren 47">
            <a:extLst>
              <a:ext uri="{FF2B5EF4-FFF2-40B4-BE49-F238E27FC236}">
                <a16:creationId xmlns:a16="http://schemas.microsoft.com/office/drawing/2014/main" id="{FAA4C07D-FC39-440C-8C64-376EF835CACD}"/>
              </a:ext>
            </a:extLst>
          </p:cNvPr>
          <p:cNvGrpSpPr/>
          <p:nvPr/>
        </p:nvGrpSpPr>
        <p:grpSpPr bwMode="gray">
          <a:xfrm>
            <a:off x="6241737" y="5627553"/>
            <a:ext cx="5472000" cy="504000"/>
            <a:chOff x="409214" y="3150603"/>
            <a:chExt cx="5472000" cy="504000"/>
          </a:xfrm>
        </p:grpSpPr>
        <p:sp>
          <p:nvSpPr>
            <p:cNvPr id="49" name="Rectangle 172">
              <a:extLst>
                <a:ext uri="{FF2B5EF4-FFF2-40B4-BE49-F238E27FC236}">
                  <a16:creationId xmlns:a16="http://schemas.microsoft.com/office/drawing/2014/main" id="{8B9C4A92-365C-4C0B-900A-CF33E6C24293}"/>
                </a:ext>
              </a:extLst>
            </p:cNvPr>
            <p:cNvSpPr/>
            <p:nvPr/>
          </p:nvSpPr>
          <p:spPr bwMode="gray">
            <a:xfrm>
              <a:off x="409214" y="3150603"/>
              <a:ext cx="5472000" cy="504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Energetische Transformation von Bestandsgebäuden ist mit einem </a:t>
              </a:r>
              <a:r>
                <a:rPr lang="de-DE" sz="1400" b="1" dirty="0">
                  <a:solidFill>
                    <a:schemeClr val="accent2"/>
                  </a:solidFill>
                </a:rPr>
                <a:t>höheren Risiko </a:t>
              </a:r>
              <a:r>
                <a:rPr lang="de-DE" sz="1400" dirty="0">
                  <a:solidFill>
                    <a:schemeClr val="tx1"/>
                  </a:solidFill>
                </a:rPr>
                <a:t>verbunden als Abriss und Neubau</a:t>
              </a:r>
            </a:p>
          </p:txBody>
        </p:sp>
        <p:grpSp>
          <p:nvGrpSpPr>
            <p:cNvPr id="50" name="Gruppieren 49">
              <a:extLst>
                <a:ext uri="{FF2B5EF4-FFF2-40B4-BE49-F238E27FC236}">
                  <a16:creationId xmlns:a16="http://schemas.microsoft.com/office/drawing/2014/main" id="{F24F5450-5A37-4AB5-99AE-4DD846B9DC6B}"/>
                </a:ext>
              </a:extLst>
            </p:cNvPr>
            <p:cNvGrpSpPr/>
            <p:nvPr/>
          </p:nvGrpSpPr>
          <p:grpSpPr bwMode="gray">
            <a:xfrm>
              <a:off x="409214" y="3150603"/>
              <a:ext cx="396000" cy="504000"/>
              <a:chOff x="409214" y="3150603"/>
              <a:chExt cx="396000" cy="504000"/>
            </a:xfrm>
          </p:grpSpPr>
          <p:sp>
            <p:nvSpPr>
              <p:cNvPr id="51" name="Rectangle 20">
                <a:extLst>
                  <a:ext uri="{FF2B5EF4-FFF2-40B4-BE49-F238E27FC236}">
                    <a16:creationId xmlns:a16="http://schemas.microsoft.com/office/drawing/2014/main" id="{2CD84808-94D3-40AE-A616-EDFDF5A8D4E5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3150603"/>
                <a:ext cx="396000" cy="504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52" name="Freeform 2262">
                <a:extLst>
                  <a:ext uri="{FF2B5EF4-FFF2-40B4-BE49-F238E27FC236}">
                    <a16:creationId xmlns:a16="http://schemas.microsoft.com/office/drawing/2014/main" id="{A456894C-8CC3-40B0-8EFA-F021C7CA7A31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3252237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54" name="Rectangle 216">
            <a:extLst>
              <a:ext uri="{FF2B5EF4-FFF2-40B4-BE49-F238E27FC236}">
                <a16:creationId xmlns:a16="http://schemas.microsoft.com/office/drawing/2014/main" id="{2991F761-DD98-4B62-A49B-A8691A0E0950}"/>
              </a:ext>
            </a:extLst>
          </p:cNvPr>
          <p:cNvSpPr>
            <a:spLocks noChangeArrowheads="1"/>
          </p:cNvSpPr>
          <p:nvPr/>
        </p:nvSpPr>
        <p:spPr bwMode="gray">
          <a:xfrm>
            <a:off x="433462" y="2564904"/>
            <a:ext cx="5458746" cy="456601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</a:pPr>
            <a:r>
              <a:rPr lang="de-DE" b="1" dirty="0">
                <a:solidFill>
                  <a:schemeClr val="tx2"/>
                </a:solidFill>
              </a:rPr>
              <a:t>Building </a:t>
            </a:r>
            <a:r>
              <a:rPr lang="de-DE" b="1" dirty="0" err="1">
                <a:solidFill>
                  <a:schemeClr val="tx2"/>
                </a:solidFill>
              </a:rPr>
              <a:t>Sector</a:t>
            </a:r>
            <a:r>
              <a:rPr lang="de-DE" b="1" dirty="0">
                <a:solidFill>
                  <a:schemeClr val="tx2"/>
                </a:solidFill>
              </a:rPr>
              <a:t> </a:t>
            </a:r>
            <a:r>
              <a:rPr lang="de-DE" b="1" dirty="0" err="1">
                <a:solidFill>
                  <a:schemeClr val="tx2"/>
                </a:solidFill>
              </a:rPr>
              <a:t>Decarbonization</a:t>
            </a:r>
            <a:endParaRPr lang="de-DE" b="1" dirty="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01941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p15="http://schemas.microsoft.com/office/powerpoint/2012/main"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" name="Textplatzhalter 3">
            <a:extLst>
              <a:ext uri="{FF2B5EF4-FFF2-40B4-BE49-F238E27FC236}">
                <a16:creationId xmlns:a16="http://schemas.microsoft.com/office/drawing/2014/main" id="{CC9EB43E-5575-44A4-8708-063D841B388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 bwMode="gray"/>
        <p:txBody>
          <a:bodyPr lIns="990000"/>
          <a:lstStyle/>
          <a:p>
            <a:r>
              <a:rPr lang="de-DE" b="1" dirty="0"/>
              <a:t>Lösungen</a:t>
            </a:r>
          </a:p>
        </p:txBody>
      </p:sp>
      <p:sp>
        <p:nvSpPr>
          <p:cNvPr id="9" name="Titel 8">
            <a:extLst>
              <a:ext uri="{FF2B5EF4-FFF2-40B4-BE49-F238E27FC236}">
                <a16:creationId xmlns:a16="http://schemas.microsoft.com/office/drawing/2014/main" id="{57295E1D-DE96-4AD7-9F47-14B6C439263A}"/>
              </a:ext>
            </a:extLst>
          </p:cNvPr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de-DE" dirty="0"/>
              <a:t>Was sind erste Lösungen und wo muss noch nachgebessert werden?</a:t>
            </a:r>
          </a:p>
        </p:txBody>
      </p:sp>
      <p:cxnSp>
        <p:nvCxnSpPr>
          <p:cNvPr id="53" name="Straight Connector 167">
            <a:extLst>
              <a:ext uri="{FF2B5EF4-FFF2-40B4-BE49-F238E27FC236}">
                <a16:creationId xmlns:a16="http://schemas.microsoft.com/office/drawing/2014/main" id="{96A2D906-705B-4040-94D2-CC16894B52FD}"/>
              </a:ext>
            </a:extLst>
          </p:cNvPr>
          <p:cNvCxnSpPr/>
          <p:nvPr/>
        </p:nvCxnSpPr>
        <p:spPr bwMode="gray">
          <a:xfrm>
            <a:off x="409214" y="4086896"/>
            <a:ext cx="5472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5" name="Gruppieren 54">
            <a:extLst>
              <a:ext uri="{FF2B5EF4-FFF2-40B4-BE49-F238E27FC236}">
                <a16:creationId xmlns:a16="http://schemas.microsoft.com/office/drawing/2014/main" id="{5B3196DC-D47A-4EED-86A0-D17E5A4E9A32}"/>
              </a:ext>
            </a:extLst>
          </p:cNvPr>
          <p:cNvGrpSpPr/>
          <p:nvPr/>
        </p:nvGrpSpPr>
        <p:grpSpPr bwMode="gray">
          <a:xfrm>
            <a:off x="409214" y="3286108"/>
            <a:ext cx="5472000" cy="720000"/>
            <a:chOff x="409214" y="2811751"/>
            <a:chExt cx="5472000" cy="720000"/>
          </a:xfrm>
        </p:grpSpPr>
        <p:sp>
          <p:nvSpPr>
            <p:cNvPr id="56" name="Rectangle 172">
              <a:extLst>
                <a:ext uri="{FF2B5EF4-FFF2-40B4-BE49-F238E27FC236}">
                  <a16:creationId xmlns:a16="http://schemas.microsoft.com/office/drawing/2014/main" id="{B905BD6C-2BC5-44D2-9F2D-3BDE4939C88F}"/>
                </a:ext>
              </a:extLst>
            </p:cNvPr>
            <p:cNvSpPr/>
            <p:nvPr/>
          </p:nvSpPr>
          <p:spPr bwMode="gray">
            <a:xfrm>
              <a:off x="409214" y="2811751"/>
              <a:ext cx="5472000" cy="72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Energiemonitoring </a:t>
              </a:r>
              <a:r>
                <a:rPr lang="de-DE" sz="1400" dirty="0">
                  <a:solidFill>
                    <a:schemeClr val="bg1"/>
                  </a:solidFill>
                </a:rPr>
                <a:t>verhilft mit einer smarten Zählerinfrastruktur zu Echtzeitdatenanalysen &amp; Quick </a:t>
              </a:r>
              <a:r>
                <a:rPr lang="de-DE" sz="1400" dirty="0" err="1">
                  <a:solidFill>
                    <a:schemeClr val="bg1"/>
                  </a:solidFill>
                </a:rPr>
                <a:t>Wins</a:t>
              </a:r>
              <a:endParaRPr lang="de-DE" sz="1400" dirty="0">
                <a:solidFill>
                  <a:schemeClr val="bg1"/>
                </a:solidFill>
              </a:endParaRPr>
            </a:p>
          </p:txBody>
        </p:sp>
        <p:grpSp>
          <p:nvGrpSpPr>
            <p:cNvPr id="57" name="Gruppieren 56">
              <a:extLst>
                <a:ext uri="{FF2B5EF4-FFF2-40B4-BE49-F238E27FC236}">
                  <a16:creationId xmlns:a16="http://schemas.microsoft.com/office/drawing/2014/main" id="{9D2A13A4-5F35-4A69-930C-CEC03D361717}"/>
                </a:ext>
              </a:extLst>
            </p:cNvPr>
            <p:cNvGrpSpPr/>
            <p:nvPr/>
          </p:nvGrpSpPr>
          <p:grpSpPr bwMode="gray">
            <a:xfrm>
              <a:off x="409214" y="2811751"/>
              <a:ext cx="396000" cy="720000"/>
              <a:chOff x="409214" y="2744924"/>
              <a:chExt cx="396000" cy="720000"/>
            </a:xfrm>
          </p:grpSpPr>
          <p:sp>
            <p:nvSpPr>
              <p:cNvPr id="58" name="Rectangle 20">
                <a:extLst>
                  <a:ext uri="{FF2B5EF4-FFF2-40B4-BE49-F238E27FC236}">
                    <a16:creationId xmlns:a16="http://schemas.microsoft.com/office/drawing/2014/main" id="{98B0775B-E534-4959-8B7A-70D065DD23C3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2744924"/>
                <a:ext cx="396000" cy="720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59" name="Freeform 2262">
                <a:extLst>
                  <a:ext uri="{FF2B5EF4-FFF2-40B4-BE49-F238E27FC236}">
                    <a16:creationId xmlns:a16="http://schemas.microsoft.com/office/drawing/2014/main" id="{43235C52-CFF0-41C5-9E91-DD727F7F1E2A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2958027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60" name="Gruppieren 59">
            <a:extLst>
              <a:ext uri="{FF2B5EF4-FFF2-40B4-BE49-F238E27FC236}">
                <a16:creationId xmlns:a16="http://schemas.microsoft.com/office/drawing/2014/main" id="{E96CF01C-54B3-4115-896F-350606EEEA08}"/>
              </a:ext>
            </a:extLst>
          </p:cNvPr>
          <p:cNvGrpSpPr/>
          <p:nvPr/>
        </p:nvGrpSpPr>
        <p:grpSpPr bwMode="gray">
          <a:xfrm>
            <a:off x="409214" y="4167684"/>
            <a:ext cx="5472000" cy="720000"/>
            <a:chOff x="409214" y="3693327"/>
            <a:chExt cx="5472000" cy="720000"/>
          </a:xfrm>
        </p:grpSpPr>
        <p:sp>
          <p:nvSpPr>
            <p:cNvPr id="61" name="Rectangle 172">
              <a:extLst>
                <a:ext uri="{FF2B5EF4-FFF2-40B4-BE49-F238E27FC236}">
                  <a16:creationId xmlns:a16="http://schemas.microsoft.com/office/drawing/2014/main" id="{E63DD9F9-920D-4C9F-8A6A-8140CE62ECF8}"/>
                </a:ext>
              </a:extLst>
            </p:cNvPr>
            <p:cNvSpPr/>
            <p:nvPr/>
          </p:nvSpPr>
          <p:spPr bwMode="gray">
            <a:xfrm>
              <a:off x="409214" y="3693327"/>
              <a:ext cx="5472000" cy="72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bg2"/>
                  </a:solidFill>
                </a:rPr>
                <a:t>Taxonomie</a:t>
              </a:r>
              <a:r>
                <a:rPr lang="de-DE" sz="1400" dirty="0">
                  <a:solidFill>
                    <a:schemeClr val="bg2"/>
                  </a:solidFill>
                </a:rPr>
                <a:t> ist die Definition von Nachhaltigkeit und </a:t>
              </a:r>
              <a:r>
                <a:rPr lang="de-DE" sz="1400" b="1" dirty="0">
                  <a:solidFill>
                    <a:schemeClr val="bg2"/>
                  </a:solidFill>
                </a:rPr>
                <a:t>CRREM-Pfad</a:t>
              </a:r>
              <a:r>
                <a:rPr lang="de-DE" sz="1400" dirty="0">
                  <a:solidFill>
                    <a:schemeClr val="bg2"/>
                  </a:solidFill>
                </a:rPr>
                <a:t> zeigt auf was ein Objekt erreichen muss</a:t>
              </a:r>
            </a:p>
          </p:txBody>
        </p:sp>
        <p:grpSp>
          <p:nvGrpSpPr>
            <p:cNvPr id="62" name="Gruppieren 61">
              <a:extLst>
                <a:ext uri="{FF2B5EF4-FFF2-40B4-BE49-F238E27FC236}">
                  <a16:creationId xmlns:a16="http://schemas.microsoft.com/office/drawing/2014/main" id="{C887DA19-BF85-4990-A3D3-A57D53C7ED55}"/>
                </a:ext>
              </a:extLst>
            </p:cNvPr>
            <p:cNvGrpSpPr/>
            <p:nvPr/>
          </p:nvGrpSpPr>
          <p:grpSpPr bwMode="gray">
            <a:xfrm>
              <a:off x="409214" y="3693327"/>
              <a:ext cx="396000" cy="720000"/>
              <a:chOff x="409214" y="3626500"/>
              <a:chExt cx="396000" cy="720000"/>
            </a:xfrm>
          </p:grpSpPr>
          <p:sp>
            <p:nvSpPr>
              <p:cNvPr id="63" name="Rectangle 20">
                <a:extLst>
                  <a:ext uri="{FF2B5EF4-FFF2-40B4-BE49-F238E27FC236}">
                    <a16:creationId xmlns:a16="http://schemas.microsoft.com/office/drawing/2014/main" id="{131E60C9-BA26-4EDB-80A0-C3B17263A6F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3626500"/>
                <a:ext cx="396000" cy="720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64" name="Freeform 2262">
                <a:extLst>
                  <a:ext uri="{FF2B5EF4-FFF2-40B4-BE49-F238E27FC236}">
                    <a16:creationId xmlns:a16="http://schemas.microsoft.com/office/drawing/2014/main" id="{FC96C403-C476-46B2-B884-5BD65EDD7384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3842487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</p:grpSp>
      <p:grpSp>
        <p:nvGrpSpPr>
          <p:cNvPr id="65" name="Gruppieren 64">
            <a:extLst>
              <a:ext uri="{FF2B5EF4-FFF2-40B4-BE49-F238E27FC236}">
                <a16:creationId xmlns:a16="http://schemas.microsoft.com/office/drawing/2014/main" id="{6CB01069-2ADC-46B2-859A-BD38421CC5C0}"/>
              </a:ext>
            </a:extLst>
          </p:cNvPr>
          <p:cNvGrpSpPr/>
          <p:nvPr/>
        </p:nvGrpSpPr>
        <p:grpSpPr bwMode="gray">
          <a:xfrm>
            <a:off x="409214" y="5049260"/>
            <a:ext cx="5472000" cy="720000"/>
            <a:chOff x="409214" y="4574903"/>
            <a:chExt cx="5472000" cy="720000"/>
          </a:xfrm>
        </p:grpSpPr>
        <p:sp>
          <p:nvSpPr>
            <p:cNvPr id="66" name="Rectangle 172">
              <a:extLst>
                <a:ext uri="{FF2B5EF4-FFF2-40B4-BE49-F238E27FC236}">
                  <a16:creationId xmlns:a16="http://schemas.microsoft.com/office/drawing/2014/main" id="{78D58CD9-D3C1-4103-88A0-93537841F41C}"/>
                </a:ext>
              </a:extLst>
            </p:cNvPr>
            <p:cNvSpPr/>
            <p:nvPr/>
          </p:nvSpPr>
          <p:spPr bwMode="gray">
            <a:xfrm>
              <a:off x="409214" y="4574903"/>
              <a:ext cx="5472000" cy="72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bg1"/>
                  </a:solidFill>
                </a:rPr>
                <a:t>Energetische Modernisierungsfahrpläne </a:t>
              </a:r>
              <a:r>
                <a:rPr lang="de-DE" sz="1400" dirty="0">
                  <a:solidFill>
                    <a:schemeClr val="bg1"/>
                  </a:solidFill>
                </a:rPr>
                <a:t>überprüfen Zukunftsfähigkeit entlang CRREM Pfad und zeigen Einsparpotenziale mit ROI auf</a:t>
              </a:r>
            </a:p>
          </p:txBody>
        </p:sp>
        <p:grpSp>
          <p:nvGrpSpPr>
            <p:cNvPr id="67" name="Gruppieren 66">
              <a:extLst>
                <a:ext uri="{FF2B5EF4-FFF2-40B4-BE49-F238E27FC236}">
                  <a16:creationId xmlns:a16="http://schemas.microsoft.com/office/drawing/2014/main" id="{88A7290B-C030-46CB-9288-AF3C9E21652E}"/>
                </a:ext>
              </a:extLst>
            </p:cNvPr>
            <p:cNvGrpSpPr/>
            <p:nvPr/>
          </p:nvGrpSpPr>
          <p:grpSpPr bwMode="gray">
            <a:xfrm>
              <a:off x="409214" y="4574903"/>
              <a:ext cx="396000" cy="720000"/>
              <a:chOff x="409214" y="4508076"/>
              <a:chExt cx="396000" cy="720000"/>
            </a:xfrm>
          </p:grpSpPr>
          <p:sp>
            <p:nvSpPr>
              <p:cNvPr id="68" name="Rectangle 20">
                <a:extLst>
                  <a:ext uri="{FF2B5EF4-FFF2-40B4-BE49-F238E27FC236}">
                    <a16:creationId xmlns:a16="http://schemas.microsoft.com/office/drawing/2014/main" id="{B1C54178-3194-4868-9F7B-EFE5BD0DE461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4508076"/>
                <a:ext cx="396000" cy="720000"/>
              </a:xfrm>
              <a:prstGeom prst="rect">
                <a:avLst/>
              </a:prstGeom>
              <a:solidFill>
                <a:schemeClr val="accent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chemeClr val="bg1"/>
                  </a:solidFill>
                  <a:latin typeface="Arial"/>
                </a:endParaRPr>
              </a:p>
            </p:txBody>
          </p:sp>
          <p:sp>
            <p:nvSpPr>
              <p:cNvPr id="69" name="Freeform 2262">
                <a:extLst>
                  <a:ext uri="{FF2B5EF4-FFF2-40B4-BE49-F238E27FC236}">
                    <a16:creationId xmlns:a16="http://schemas.microsoft.com/office/drawing/2014/main" id="{BFE9596A-218E-4E1F-8D00-A004C3508A4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4719528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>
                  <a:solidFill>
                    <a:schemeClr val="bg1"/>
                  </a:solidFill>
                </a:endParaRPr>
              </a:p>
            </p:txBody>
          </p:sp>
        </p:grpSp>
      </p:grpSp>
      <p:cxnSp>
        <p:nvCxnSpPr>
          <p:cNvPr id="70" name="Straight Connector 167">
            <a:extLst>
              <a:ext uri="{FF2B5EF4-FFF2-40B4-BE49-F238E27FC236}">
                <a16:creationId xmlns:a16="http://schemas.microsoft.com/office/drawing/2014/main" id="{B88A99B3-34ED-40D0-BA6C-6697C8E1AEB8}"/>
              </a:ext>
            </a:extLst>
          </p:cNvPr>
          <p:cNvCxnSpPr>
            <a:cxnSpLocks/>
          </p:cNvCxnSpPr>
          <p:nvPr/>
        </p:nvCxnSpPr>
        <p:spPr bwMode="gray">
          <a:xfrm>
            <a:off x="7017680" y="4086896"/>
            <a:ext cx="4768281" cy="0"/>
          </a:xfrm>
          <a:prstGeom prst="line">
            <a:avLst/>
          </a:prstGeom>
          <a:ln w="9525">
            <a:solidFill>
              <a:srgbClr val="888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Straight Connector 167">
            <a:extLst>
              <a:ext uri="{FF2B5EF4-FFF2-40B4-BE49-F238E27FC236}">
                <a16:creationId xmlns:a16="http://schemas.microsoft.com/office/drawing/2014/main" id="{21A607B7-4085-46AF-B2FE-323F7950495F}"/>
              </a:ext>
            </a:extLst>
          </p:cNvPr>
          <p:cNvCxnSpPr>
            <a:cxnSpLocks/>
          </p:cNvCxnSpPr>
          <p:nvPr/>
        </p:nvCxnSpPr>
        <p:spPr bwMode="gray">
          <a:xfrm>
            <a:off x="7017680" y="4968472"/>
            <a:ext cx="4768281" cy="0"/>
          </a:xfrm>
          <a:prstGeom prst="line">
            <a:avLst/>
          </a:prstGeom>
          <a:ln w="9525">
            <a:solidFill>
              <a:srgbClr val="888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72" name="Gruppieren 71">
            <a:extLst>
              <a:ext uri="{FF2B5EF4-FFF2-40B4-BE49-F238E27FC236}">
                <a16:creationId xmlns:a16="http://schemas.microsoft.com/office/drawing/2014/main" id="{22AB61F5-3B7A-40BB-A69F-0D7753F40802}"/>
              </a:ext>
            </a:extLst>
          </p:cNvPr>
          <p:cNvGrpSpPr/>
          <p:nvPr/>
        </p:nvGrpSpPr>
        <p:grpSpPr bwMode="gray">
          <a:xfrm>
            <a:off x="7017680" y="3286108"/>
            <a:ext cx="4912555" cy="720000"/>
            <a:chOff x="7017680" y="2811751"/>
            <a:chExt cx="4912555" cy="720000"/>
          </a:xfrm>
        </p:grpSpPr>
        <p:sp>
          <p:nvSpPr>
            <p:cNvPr id="73" name="Rectangle 172">
              <a:extLst>
                <a:ext uri="{FF2B5EF4-FFF2-40B4-BE49-F238E27FC236}">
                  <a16:creationId xmlns:a16="http://schemas.microsoft.com/office/drawing/2014/main" id="{AEBF3DEC-1A9C-4456-8FB0-2F913DC3AF21}"/>
                </a:ext>
              </a:extLst>
            </p:cNvPr>
            <p:cNvSpPr/>
            <p:nvPr/>
          </p:nvSpPr>
          <p:spPr bwMode="gray">
            <a:xfrm>
              <a:off x="7017680" y="2811751"/>
              <a:ext cx="4912555" cy="72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dirty="0">
                  <a:solidFill>
                    <a:schemeClr val="tx1"/>
                  </a:solidFill>
                </a:rPr>
                <a:t>Zukunftsfähigkeit muss in der </a:t>
              </a:r>
              <a:r>
                <a:rPr lang="de-DE" sz="1400" b="1" dirty="0">
                  <a:solidFill>
                    <a:schemeClr val="accent2"/>
                  </a:solidFill>
                </a:rPr>
                <a:t>Bewertung</a:t>
              </a:r>
              <a:r>
                <a:rPr lang="de-DE" sz="1400" dirty="0">
                  <a:solidFill>
                    <a:schemeClr val="tx1"/>
                  </a:solidFill>
                </a:rPr>
                <a:t> Berücksichtigung finden und energetische Maß-nahmen sollten zu Werterhalt/-steigerung führen</a:t>
              </a:r>
            </a:p>
          </p:txBody>
        </p:sp>
        <p:grpSp>
          <p:nvGrpSpPr>
            <p:cNvPr id="74" name="Gruppieren 73">
              <a:extLst>
                <a:ext uri="{FF2B5EF4-FFF2-40B4-BE49-F238E27FC236}">
                  <a16:creationId xmlns:a16="http://schemas.microsoft.com/office/drawing/2014/main" id="{69670B33-B0D4-4C5C-A18E-4A9D922FE69E}"/>
                </a:ext>
              </a:extLst>
            </p:cNvPr>
            <p:cNvGrpSpPr/>
            <p:nvPr/>
          </p:nvGrpSpPr>
          <p:grpSpPr bwMode="gray">
            <a:xfrm>
              <a:off x="7017680" y="2811751"/>
              <a:ext cx="396000" cy="720000"/>
              <a:chOff x="409214" y="2744924"/>
              <a:chExt cx="396000" cy="720000"/>
            </a:xfrm>
          </p:grpSpPr>
          <p:sp>
            <p:nvSpPr>
              <p:cNvPr id="75" name="Rectangle 20">
                <a:extLst>
                  <a:ext uri="{FF2B5EF4-FFF2-40B4-BE49-F238E27FC236}">
                    <a16:creationId xmlns:a16="http://schemas.microsoft.com/office/drawing/2014/main" id="{C1F83F9C-CB23-4265-9F39-7D8AE818FEBB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2744924"/>
                <a:ext cx="396000" cy="720000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76" name="Freeform 2262">
                <a:extLst>
                  <a:ext uri="{FF2B5EF4-FFF2-40B4-BE49-F238E27FC236}">
                    <a16:creationId xmlns:a16="http://schemas.microsoft.com/office/drawing/2014/main" id="{D4176EDD-7A12-4B1E-87BD-470BA9BF3AA7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2958027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77" name="Gruppieren 76">
            <a:extLst>
              <a:ext uri="{FF2B5EF4-FFF2-40B4-BE49-F238E27FC236}">
                <a16:creationId xmlns:a16="http://schemas.microsoft.com/office/drawing/2014/main" id="{13FB8DAC-1833-4C41-91B9-8B7383A6D01D}"/>
              </a:ext>
            </a:extLst>
          </p:cNvPr>
          <p:cNvGrpSpPr/>
          <p:nvPr/>
        </p:nvGrpSpPr>
        <p:grpSpPr bwMode="gray">
          <a:xfrm>
            <a:off x="7017680" y="4167684"/>
            <a:ext cx="4767921" cy="720000"/>
            <a:chOff x="7017680" y="3693327"/>
            <a:chExt cx="4767921" cy="720000"/>
          </a:xfrm>
        </p:grpSpPr>
        <p:sp>
          <p:nvSpPr>
            <p:cNvPr id="78" name="Rectangle 172">
              <a:extLst>
                <a:ext uri="{FF2B5EF4-FFF2-40B4-BE49-F238E27FC236}">
                  <a16:creationId xmlns:a16="http://schemas.microsoft.com/office/drawing/2014/main" id="{1E62630B-83C7-4341-9851-438D60381082}"/>
                </a:ext>
              </a:extLst>
            </p:cNvPr>
            <p:cNvSpPr/>
            <p:nvPr/>
          </p:nvSpPr>
          <p:spPr bwMode="gray">
            <a:xfrm>
              <a:off x="7017681" y="3693327"/>
              <a:ext cx="4767920" cy="72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accent2"/>
                  </a:solidFill>
                </a:rPr>
                <a:t>SFDR und Taxonomie </a:t>
              </a:r>
              <a:r>
                <a:rPr lang="de-DE" sz="1400" dirty="0">
                  <a:solidFill>
                    <a:schemeClr val="tx1"/>
                  </a:solidFill>
                </a:rPr>
                <a:t>berücksichtigen nicht die Transformation von Immobilien und weisen nur das als nachhaltig aus was schon nachhaltig ist</a:t>
              </a:r>
            </a:p>
          </p:txBody>
        </p:sp>
        <p:grpSp>
          <p:nvGrpSpPr>
            <p:cNvPr id="79" name="Gruppieren 78">
              <a:extLst>
                <a:ext uri="{FF2B5EF4-FFF2-40B4-BE49-F238E27FC236}">
                  <a16:creationId xmlns:a16="http://schemas.microsoft.com/office/drawing/2014/main" id="{AA803A2F-31A1-48D6-B08A-EC3358A22C84}"/>
                </a:ext>
              </a:extLst>
            </p:cNvPr>
            <p:cNvGrpSpPr/>
            <p:nvPr/>
          </p:nvGrpSpPr>
          <p:grpSpPr bwMode="gray">
            <a:xfrm>
              <a:off x="7017680" y="3693327"/>
              <a:ext cx="396000" cy="720000"/>
              <a:chOff x="409214" y="3626500"/>
              <a:chExt cx="396000" cy="720000"/>
            </a:xfrm>
          </p:grpSpPr>
          <p:sp>
            <p:nvSpPr>
              <p:cNvPr id="80" name="Rectangle 20">
                <a:extLst>
                  <a:ext uri="{FF2B5EF4-FFF2-40B4-BE49-F238E27FC236}">
                    <a16:creationId xmlns:a16="http://schemas.microsoft.com/office/drawing/2014/main" id="{48573ECD-838D-4E8E-B687-332F93CF8979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3626500"/>
                <a:ext cx="396000" cy="720000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1" name="Freeform 2262">
                <a:extLst>
                  <a:ext uri="{FF2B5EF4-FFF2-40B4-BE49-F238E27FC236}">
                    <a16:creationId xmlns:a16="http://schemas.microsoft.com/office/drawing/2014/main" id="{C3A36AB8-B0D7-4983-B7DC-A1192E9041E0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3842487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grpSp>
        <p:nvGrpSpPr>
          <p:cNvPr id="82" name="Gruppieren 81">
            <a:extLst>
              <a:ext uri="{FF2B5EF4-FFF2-40B4-BE49-F238E27FC236}">
                <a16:creationId xmlns:a16="http://schemas.microsoft.com/office/drawing/2014/main" id="{0AC40CFB-44B8-4B1D-AB9E-6EAF59423363}"/>
              </a:ext>
            </a:extLst>
          </p:cNvPr>
          <p:cNvGrpSpPr/>
          <p:nvPr/>
        </p:nvGrpSpPr>
        <p:grpSpPr bwMode="gray">
          <a:xfrm>
            <a:off x="7017680" y="5049260"/>
            <a:ext cx="4768281" cy="720000"/>
            <a:chOff x="7017680" y="4574903"/>
            <a:chExt cx="4768281" cy="720000"/>
          </a:xfrm>
        </p:grpSpPr>
        <p:sp>
          <p:nvSpPr>
            <p:cNvPr id="83" name="Rectangle 172">
              <a:extLst>
                <a:ext uri="{FF2B5EF4-FFF2-40B4-BE49-F238E27FC236}">
                  <a16:creationId xmlns:a16="http://schemas.microsoft.com/office/drawing/2014/main" id="{B28BEBD9-FE9F-42D4-B840-52FC781D8C9D}"/>
                </a:ext>
              </a:extLst>
            </p:cNvPr>
            <p:cNvSpPr/>
            <p:nvPr/>
          </p:nvSpPr>
          <p:spPr bwMode="gray">
            <a:xfrm>
              <a:off x="7017680" y="4574903"/>
              <a:ext cx="4768281" cy="720000"/>
            </a:xfrm>
            <a:prstGeom prst="rect">
              <a:avLst/>
            </a:prstGeom>
            <a:no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76000" tIns="72000" rIns="72000" bIns="72000" rtlCol="0" anchor="ctr" anchorCtr="0"/>
            <a:lstStyle/>
            <a:p>
              <a:r>
                <a:rPr lang="de-DE" sz="1400" b="1" dirty="0">
                  <a:solidFill>
                    <a:schemeClr val="accent2"/>
                  </a:solidFill>
                </a:rPr>
                <a:t>Nationale Gesetzgebungen </a:t>
              </a:r>
              <a:r>
                <a:rPr lang="de-DE" sz="1400" dirty="0">
                  <a:solidFill>
                    <a:schemeClr val="tx1"/>
                  </a:solidFill>
                </a:rPr>
                <a:t>auf Objektebene sind vielfältig und werden weiter anziehen </a:t>
              </a:r>
            </a:p>
          </p:txBody>
        </p:sp>
        <p:grpSp>
          <p:nvGrpSpPr>
            <p:cNvPr id="84" name="Gruppieren 83">
              <a:extLst>
                <a:ext uri="{FF2B5EF4-FFF2-40B4-BE49-F238E27FC236}">
                  <a16:creationId xmlns:a16="http://schemas.microsoft.com/office/drawing/2014/main" id="{163D9F90-B71D-4287-8232-19DAAD66CFFF}"/>
                </a:ext>
              </a:extLst>
            </p:cNvPr>
            <p:cNvGrpSpPr/>
            <p:nvPr/>
          </p:nvGrpSpPr>
          <p:grpSpPr bwMode="gray">
            <a:xfrm>
              <a:off x="7017680" y="4574903"/>
              <a:ext cx="396000" cy="720000"/>
              <a:chOff x="409214" y="4508076"/>
              <a:chExt cx="396000" cy="720000"/>
            </a:xfrm>
          </p:grpSpPr>
          <p:sp>
            <p:nvSpPr>
              <p:cNvPr id="85" name="Rectangle 20">
                <a:extLst>
                  <a:ext uri="{FF2B5EF4-FFF2-40B4-BE49-F238E27FC236}">
                    <a16:creationId xmlns:a16="http://schemas.microsoft.com/office/drawing/2014/main" id="{4ADE0FE5-ED88-4464-875C-33D46C9A25EC}"/>
                  </a:ext>
                </a:extLst>
              </p:cNvPr>
              <p:cNvSpPr>
                <a:spLocks noChangeArrowheads="1"/>
              </p:cNvSpPr>
              <p:nvPr/>
            </p:nvSpPr>
            <p:spPr bwMode="gray">
              <a:xfrm>
                <a:off x="409214" y="4508076"/>
                <a:ext cx="396000" cy="720000"/>
              </a:xfrm>
              <a:prstGeom prst="rect">
                <a:avLst/>
              </a:prstGeom>
              <a:solidFill>
                <a:schemeClr val="tx2"/>
              </a:solidFill>
              <a:ln w="6350">
                <a:noFill/>
                <a:miter lim="800000"/>
                <a:headEnd/>
                <a:tailEnd/>
              </a:ln>
            </p:spPr>
            <p:txBody>
              <a:bodyPr wrap="square" lIns="0" tIns="72000" rIns="0" bIns="72000" rtlCol="0" anchor="ctr">
                <a:noAutofit/>
              </a:bodyPr>
              <a:lstStyle/>
              <a:p>
                <a:pPr algn="ctr" defTabSz="963613" eaLnBrk="0" fontAlgn="auto" hangingPunct="0">
                  <a:spcBef>
                    <a:spcPts val="400"/>
                  </a:spcBef>
                  <a:spcAft>
                    <a:spcPts val="0"/>
                  </a:spcAft>
                  <a:tabLst>
                    <a:tab pos="1257300" algn="l"/>
                  </a:tabLst>
                  <a:defRPr/>
                </a:pPr>
                <a:endParaRPr lang="de-DE" sz="1400" b="1" kern="0" dirty="0">
                  <a:solidFill>
                    <a:srgbClr val="FFFFFF"/>
                  </a:solidFill>
                  <a:latin typeface="Arial"/>
                </a:endParaRPr>
              </a:p>
            </p:txBody>
          </p:sp>
          <p:sp>
            <p:nvSpPr>
              <p:cNvPr id="86" name="Freeform 2262">
                <a:extLst>
                  <a:ext uri="{FF2B5EF4-FFF2-40B4-BE49-F238E27FC236}">
                    <a16:creationId xmlns:a16="http://schemas.microsoft.com/office/drawing/2014/main" id="{2F63ECE4-8760-444E-BC5B-51B6BBB1B83E}"/>
                  </a:ext>
                </a:extLst>
              </p:cNvPr>
              <p:cNvSpPr>
                <a:spLocks noChangeAspect="1"/>
              </p:cNvSpPr>
              <p:nvPr/>
            </p:nvSpPr>
            <p:spPr bwMode="gray">
              <a:xfrm>
                <a:off x="518811" y="4719528"/>
                <a:ext cx="176806" cy="293794"/>
              </a:xfrm>
              <a:custGeom>
                <a:avLst/>
                <a:gdLst>
                  <a:gd name="T0" fmla="*/ 526 w 5723"/>
                  <a:gd name="T1" fmla="*/ 9502 h 9502"/>
                  <a:gd name="T2" fmla="*/ 175 w 5723"/>
                  <a:gd name="T3" fmla="*/ 9346 h 9502"/>
                  <a:gd name="T4" fmla="*/ 210 w 5723"/>
                  <a:gd name="T5" fmla="*/ 8679 h 9502"/>
                  <a:gd name="T6" fmla="*/ 4544 w 5723"/>
                  <a:gd name="T7" fmla="*/ 4778 h 9502"/>
                  <a:gd name="T8" fmla="*/ 210 w 5723"/>
                  <a:gd name="T9" fmla="*/ 877 h 9502"/>
                  <a:gd name="T10" fmla="*/ 175 w 5723"/>
                  <a:gd name="T11" fmla="*/ 210 h 9502"/>
                  <a:gd name="T12" fmla="*/ 842 w 5723"/>
                  <a:gd name="T13" fmla="*/ 175 h 9502"/>
                  <a:gd name="T14" fmla="*/ 5566 w 5723"/>
                  <a:gd name="T15" fmla="*/ 4427 h 9502"/>
                  <a:gd name="T16" fmla="*/ 5723 w 5723"/>
                  <a:gd name="T17" fmla="*/ 4778 h 9502"/>
                  <a:gd name="T18" fmla="*/ 5566 w 5723"/>
                  <a:gd name="T19" fmla="*/ 5129 h 9502"/>
                  <a:gd name="T20" fmla="*/ 842 w 5723"/>
                  <a:gd name="T21" fmla="*/ 9381 h 9502"/>
                  <a:gd name="T22" fmla="*/ 526 w 5723"/>
                  <a:gd name="T23" fmla="*/ 9502 h 9502"/>
                </a:gdLst>
                <a:ahLst/>
                <a:cxnLst>
                  <a:cxn ang="0">
                    <a:pos x="T0" y="T1"/>
                  </a:cxn>
                  <a:cxn ang="0">
                    <a:pos x="T2" y="T3"/>
                  </a:cxn>
                  <a:cxn ang="0">
                    <a:pos x="T4" y="T5"/>
                  </a:cxn>
                  <a:cxn ang="0">
                    <a:pos x="T6" y="T7"/>
                  </a:cxn>
                  <a:cxn ang="0">
                    <a:pos x="T8" y="T9"/>
                  </a:cxn>
                  <a:cxn ang="0">
                    <a:pos x="T10" y="T11"/>
                  </a:cxn>
                  <a:cxn ang="0">
                    <a:pos x="T12" y="T13"/>
                  </a:cxn>
                  <a:cxn ang="0">
                    <a:pos x="T14" y="T15"/>
                  </a:cxn>
                  <a:cxn ang="0">
                    <a:pos x="T16" y="T17"/>
                  </a:cxn>
                  <a:cxn ang="0">
                    <a:pos x="T18" y="T19"/>
                  </a:cxn>
                  <a:cxn ang="0">
                    <a:pos x="T20" y="T21"/>
                  </a:cxn>
                  <a:cxn ang="0">
                    <a:pos x="T22" y="T23"/>
                  </a:cxn>
                </a:cxnLst>
                <a:rect l="0" t="0" r="r" b="b"/>
                <a:pathLst>
                  <a:path w="5723" h="9502">
                    <a:moveTo>
                      <a:pt x="526" y="9502"/>
                    </a:moveTo>
                    <a:cubicBezTo>
                      <a:pt x="397" y="9502"/>
                      <a:pt x="268" y="9450"/>
                      <a:pt x="175" y="9346"/>
                    </a:cubicBezTo>
                    <a:cubicBezTo>
                      <a:pt x="0" y="9152"/>
                      <a:pt x="16" y="8853"/>
                      <a:pt x="210" y="8679"/>
                    </a:cubicBezTo>
                    <a:cubicBezTo>
                      <a:pt x="4544" y="4778"/>
                      <a:pt x="4544" y="4778"/>
                      <a:pt x="4544" y="4778"/>
                    </a:cubicBezTo>
                    <a:cubicBezTo>
                      <a:pt x="210" y="877"/>
                      <a:pt x="210" y="877"/>
                      <a:pt x="210" y="877"/>
                    </a:cubicBezTo>
                    <a:cubicBezTo>
                      <a:pt x="16" y="703"/>
                      <a:pt x="0" y="404"/>
                      <a:pt x="175" y="210"/>
                    </a:cubicBezTo>
                    <a:cubicBezTo>
                      <a:pt x="349" y="16"/>
                      <a:pt x="648" y="0"/>
                      <a:pt x="842" y="175"/>
                    </a:cubicBezTo>
                    <a:cubicBezTo>
                      <a:pt x="5566" y="4427"/>
                      <a:pt x="5566" y="4427"/>
                      <a:pt x="5566" y="4427"/>
                    </a:cubicBezTo>
                    <a:cubicBezTo>
                      <a:pt x="5666" y="4516"/>
                      <a:pt x="5723" y="4644"/>
                      <a:pt x="5723" y="4778"/>
                    </a:cubicBezTo>
                    <a:cubicBezTo>
                      <a:pt x="5723" y="4912"/>
                      <a:pt x="5666" y="5040"/>
                      <a:pt x="5566" y="5129"/>
                    </a:cubicBezTo>
                    <a:cubicBezTo>
                      <a:pt x="842" y="9381"/>
                      <a:pt x="842" y="9381"/>
                      <a:pt x="842" y="9381"/>
                    </a:cubicBezTo>
                    <a:cubicBezTo>
                      <a:pt x="752" y="9462"/>
                      <a:pt x="639" y="9502"/>
                      <a:pt x="526" y="9502"/>
                    </a:cubicBezTo>
                    <a:close/>
                  </a:path>
                </a:pathLst>
              </a:custGeom>
              <a:solidFill>
                <a:schemeClr val="bg1"/>
              </a:solidFill>
              <a:ln>
                <a:noFill/>
              </a:ln>
            </p:spPr>
            <p:txBody>
              <a:bodyPr vert="horz" wrap="square" lIns="91440" tIns="45720" rIns="91440" bIns="45720" numCol="1" anchor="t" anchorCtr="0" compatLnSpc="1">
                <a:prstTxWarp prst="textNoShape">
                  <a:avLst/>
                </a:prstTxWarp>
              </a:bodyPr>
              <a:lstStyle/>
              <a:p>
                <a:endParaRPr lang="de-DE" dirty="0"/>
              </a:p>
            </p:txBody>
          </p:sp>
        </p:grpSp>
      </p:grpSp>
      <p:sp>
        <p:nvSpPr>
          <p:cNvPr id="87" name="Rectangle 216">
            <a:extLst>
              <a:ext uri="{FF2B5EF4-FFF2-40B4-BE49-F238E27FC236}">
                <a16:creationId xmlns:a16="http://schemas.microsoft.com/office/drawing/2014/main" id="{F1F61632-541C-4958-83FA-246C23F19CA5}"/>
              </a:ext>
            </a:extLst>
          </p:cNvPr>
          <p:cNvSpPr>
            <a:spLocks noChangeArrowheads="1"/>
          </p:cNvSpPr>
          <p:nvPr/>
        </p:nvSpPr>
        <p:spPr bwMode="gray">
          <a:xfrm>
            <a:off x="7606230" y="2645982"/>
            <a:ext cx="4425746" cy="456601"/>
          </a:xfrm>
          <a:prstGeom prst="rect">
            <a:avLst/>
          </a:prstGeom>
          <a:noFill/>
          <a:ln w="9525">
            <a:noFill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lIns="0" tIns="0" rIns="0" bIns="0" rtlCol="0" anchor="t"/>
          <a:lstStyle/>
          <a:p>
            <a:pPr>
              <a:spcBef>
                <a:spcPts val="600"/>
              </a:spcBef>
            </a:pPr>
            <a:r>
              <a:rPr lang="de-DE" b="1" dirty="0">
                <a:solidFill>
                  <a:schemeClr val="tx2"/>
                </a:solidFill>
              </a:rPr>
              <a:t>Herausforderungen</a:t>
            </a:r>
          </a:p>
        </p:txBody>
      </p:sp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D46A2885-9A21-4D00-B724-CA401B6EFE9F}"/>
              </a:ext>
            </a:extLst>
          </p:cNvPr>
          <p:cNvSpPr>
            <a:spLocks noGrp="1"/>
          </p:cNvSpPr>
          <p:nvPr>
            <p:ph type="dt" sz="half" idx="29"/>
          </p:nvPr>
        </p:nvSpPr>
        <p:spPr/>
        <p:txBody>
          <a:bodyPr/>
          <a:lstStyle/>
          <a:p>
            <a:r>
              <a:rPr lang="de-DE"/>
              <a:t>22.09.2022</a:t>
            </a:r>
            <a:endParaRPr lang="de-DE" dirty="0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E5911513-D081-4988-B62F-17D3FDBDDA09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9C89B081-1F44-4440-BC7B-989C90F97B77}" type="slidenum">
              <a:rPr lang="de-DE" smtClean="0"/>
              <a:pPr/>
              <a:t>5</a:t>
            </a:fld>
            <a:endParaRPr lang="de-DE" dirty="0"/>
          </a:p>
        </p:txBody>
      </p:sp>
      <p:sp>
        <p:nvSpPr>
          <p:cNvPr id="7" name="Fußzeilenplatzhalter 6">
            <a:extLst>
              <a:ext uri="{FF2B5EF4-FFF2-40B4-BE49-F238E27FC236}">
                <a16:creationId xmlns:a16="http://schemas.microsoft.com/office/drawing/2014/main" id="{BADB8AE6-7A95-40DA-810C-5EB827A8D5C1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r>
              <a:rPr lang="de-DE"/>
              <a:t>Union Investmet Real Estate GmbH  |  JvM  |</a:t>
            </a:r>
            <a:endParaRPr lang="de-DE" dirty="0"/>
          </a:p>
        </p:txBody>
      </p:sp>
      <p:cxnSp>
        <p:nvCxnSpPr>
          <p:cNvPr id="47" name="Straight Connector 167">
            <a:extLst>
              <a:ext uri="{FF2B5EF4-FFF2-40B4-BE49-F238E27FC236}">
                <a16:creationId xmlns:a16="http://schemas.microsoft.com/office/drawing/2014/main" id="{998F4832-1B46-4B4B-AE86-EBA08566F4A0}"/>
              </a:ext>
            </a:extLst>
          </p:cNvPr>
          <p:cNvCxnSpPr/>
          <p:nvPr/>
        </p:nvCxnSpPr>
        <p:spPr bwMode="gray">
          <a:xfrm>
            <a:off x="409214" y="4971048"/>
            <a:ext cx="5472000" cy="0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1"/>
    </p:custDataLst>
    <p:extLst>
      <p:ext uri="{BB962C8B-B14F-4D97-AF65-F5344CB8AC3E}">
        <p14:creationId xmlns:p14="http://schemas.microsoft.com/office/powerpoint/2010/main" val="42723704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a16="http://schemas.microsoft.com/office/drawing/2014/main" xmlns:a14="http://schemas.microsoft.com/office/drawing/2010/main"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dplatzhalter 19">
            <a:extLst>
              <a:ext uri="{FF2B5EF4-FFF2-40B4-BE49-F238E27FC236}">
                <a16:creationId xmlns:a16="http://schemas.microsoft.com/office/drawing/2014/main" id="{35A75699-CCF8-464D-841B-C8B765B3165D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103938" y="0"/>
            <a:ext cx="6091237" cy="6310313"/>
          </a:xfrm>
        </p:spPr>
      </p:pic>
      <p:sp>
        <p:nvSpPr>
          <p:cNvPr id="7" name="bestätigen_UI-Blau">
            <a:extLst>
              <a:ext uri="{FF2B5EF4-FFF2-40B4-BE49-F238E27FC236}">
                <a16:creationId xmlns:a16="http://schemas.microsoft.com/office/drawing/2014/main" id="{B06C0A5D-E60D-4B03-BEC2-D4EB8478BD3C}"/>
              </a:ext>
            </a:extLst>
          </p:cNvPr>
          <p:cNvSpPr>
            <a:spLocks noChangeAspect="1"/>
          </p:cNvSpPr>
          <p:nvPr>
            <p:custDataLst>
              <p:tags r:id="rId1"/>
            </p:custDataLst>
          </p:nvPr>
        </p:nvSpPr>
        <p:spPr bwMode="gray">
          <a:xfrm>
            <a:off x="4657427" y="1954422"/>
            <a:ext cx="396000" cy="394458"/>
          </a:xfrm>
          <a:custGeom>
            <a:avLst/>
            <a:gdLst>
              <a:gd name="T0" fmla="*/ 2012 w 5736"/>
              <a:gd name="T1" fmla="*/ 5709 h 5709"/>
              <a:gd name="T2" fmla="*/ 1811 w 5736"/>
              <a:gd name="T3" fmla="*/ 5626 h 5709"/>
              <a:gd name="T4" fmla="*/ 110 w 5736"/>
              <a:gd name="T5" fmla="*/ 3925 h 5709"/>
              <a:gd name="T6" fmla="*/ 110 w 5736"/>
              <a:gd name="T7" fmla="*/ 3524 h 5709"/>
              <a:gd name="T8" fmla="*/ 511 w 5736"/>
              <a:gd name="T9" fmla="*/ 3524 h 5709"/>
              <a:gd name="T10" fmla="*/ 1968 w 5736"/>
              <a:gd name="T11" fmla="*/ 4980 h 5709"/>
              <a:gd name="T12" fmla="*/ 5177 w 5736"/>
              <a:gd name="T13" fmla="*/ 166 h 5709"/>
              <a:gd name="T14" fmla="*/ 5570 w 5736"/>
              <a:gd name="T15" fmla="*/ 87 h 5709"/>
              <a:gd name="T16" fmla="*/ 5649 w 5736"/>
              <a:gd name="T17" fmla="*/ 480 h 5709"/>
              <a:gd name="T18" fmla="*/ 2247 w 5736"/>
              <a:gd name="T19" fmla="*/ 5582 h 5709"/>
              <a:gd name="T20" fmla="*/ 2040 w 5736"/>
              <a:gd name="T21" fmla="*/ 5707 h 5709"/>
              <a:gd name="T22" fmla="*/ 2012 w 5736"/>
              <a:gd name="T23" fmla="*/ 5709 h 5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736" h="5709">
                <a:moveTo>
                  <a:pt x="2012" y="5709"/>
                </a:moveTo>
                <a:cubicBezTo>
                  <a:pt x="1937" y="5709"/>
                  <a:pt x="1865" y="5679"/>
                  <a:pt x="1811" y="5626"/>
                </a:cubicBezTo>
                <a:cubicBezTo>
                  <a:pt x="110" y="3925"/>
                  <a:pt x="110" y="3925"/>
                  <a:pt x="110" y="3925"/>
                </a:cubicBezTo>
                <a:cubicBezTo>
                  <a:pt x="0" y="3814"/>
                  <a:pt x="0" y="3635"/>
                  <a:pt x="110" y="3524"/>
                </a:cubicBezTo>
                <a:cubicBezTo>
                  <a:pt x="221" y="3413"/>
                  <a:pt x="401" y="3413"/>
                  <a:pt x="511" y="3524"/>
                </a:cubicBezTo>
                <a:cubicBezTo>
                  <a:pt x="1968" y="4980"/>
                  <a:pt x="1968" y="4980"/>
                  <a:pt x="1968" y="4980"/>
                </a:cubicBezTo>
                <a:cubicBezTo>
                  <a:pt x="5177" y="166"/>
                  <a:pt x="5177" y="166"/>
                  <a:pt x="5177" y="166"/>
                </a:cubicBezTo>
                <a:cubicBezTo>
                  <a:pt x="5264" y="35"/>
                  <a:pt x="5440" y="0"/>
                  <a:pt x="5570" y="87"/>
                </a:cubicBezTo>
                <a:cubicBezTo>
                  <a:pt x="5701" y="174"/>
                  <a:pt x="5736" y="350"/>
                  <a:pt x="5649" y="480"/>
                </a:cubicBezTo>
                <a:cubicBezTo>
                  <a:pt x="2247" y="5582"/>
                  <a:pt x="2247" y="5582"/>
                  <a:pt x="2247" y="5582"/>
                </a:cubicBezTo>
                <a:cubicBezTo>
                  <a:pt x="2200" y="5653"/>
                  <a:pt x="2124" y="5699"/>
                  <a:pt x="2040" y="5707"/>
                </a:cubicBezTo>
                <a:cubicBezTo>
                  <a:pt x="2030" y="5708"/>
                  <a:pt x="2021" y="5709"/>
                  <a:pt x="2012" y="5709"/>
                </a:cubicBezTo>
                <a:close/>
              </a:path>
            </a:pathLst>
          </a:custGeom>
          <a:solidFill>
            <a:srgbClr val="0035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2180F097-36B2-4024-B7F8-7F7841C298A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9574" y="404664"/>
            <a:ext cx="6091237" cy="720000"/>
          </a:xfrm>
        </p:spPr>
        <p:txBody>
          <a:bodyPr/>
          <a:lstStyle/>
          <a:p>
            <a:r>
              <a:rPr lang="de-DE" sz="2800" dirty="0"/>
              <a:t>Vieles spricht für </a:t>
            </a:r>
            <a:r>
              <a:rPr lang="de-DE" sz="2800" dirty="0" err="1"/>
              <a:t>Berücksich-tigung</a:t>
            </a:r>
            <a:r>
              <a:rPr lang="de-DE" sz="2800" dirty="0"/>
              <a:t> in der Bewertung</a:t>
            </a:r>
            <a:endParaRPr lang="de-DE" dirty="0"/>
          </a:p>
        </p:txBody>
      </p:sp>
      <p:sp>
        <p:nvSpPr>
          <p:cNvPr id="9" name="Inhaltsplatzhalter 8">
            <a:extLst>
              <a:ext uri="{FF2B5EF4-FFF2-40B4-BE49-F238E27FC236}">
                <a16:creationId xmlns:a16="http://schemas.microsoft.com/office/drawing/2014/main" id="{AF811E69-40AD-48F9-A2B5-587A36E20C07}"/>
              </a:ext>
            </a:extLst>
          </p:cNvPr>
          <p:cNvSpPr>
            <a:spLocks noGrp="1"/>
          </p:cNvSpPr>
          <p:nvPr>
            <p:ph sz="quarter" idx="24"/>
          </p:nvPr>
        </p:nvSpPr>
        <p:spPr>
          <a:xfrm>
            <a:off x="409576" y="1412776"/>
            <a:ext cx="3959820" cy="4896445"/>
          </a:xfrm>
        </p:spPr>
        <p:txBody>
          <a:bodyPr/>
          <a:lstStyle/>
          <a:p>
            <a:endParaRPr lang="de-DE" sz="1600" dirty="0">
              <a:solidFill>
                <a:schemeClr val="accent2"/>
              </a:solidFill>
            </a:endParaRPr>
          </a:p>
          <a:p>
            <a:r>
              <a:rPr lang="de-DE" sz="1600" b="1" dirty="0">
                <a:solidFill>
                  <a:schemeClr val="accent2"/>
                </a:solidFill>
              </a:rPr>
              <a:t>Regulatorische Anforderungen </a:t>
            </a:r>
            <a:r>
              <a:rPr lang="de-DE" sz="1600" dirty="0"/>
              <a:t>an Immobilien sind zu erfüllen, Vermietbarkeit dadurch sichergestell</a:t>
            </a:r>
            <a:r>
              <a:rPr lang="de-DE" sz="1600" dirty="0">
                <a:solidFill>
                  <a:schemeClr val="dk1"/>
                </a:solidFill>
              </a:rPr>
              <a:t>t</a:t>
            </a:r>
          </a:p>
          <a:p>
            <a:endParaRPr lang="de-DE" sz="1600" dirty="0">
              <a:solidFill>
                <a:schemeClr val="dk1"/>
              </a:solidFill>
            </a:endParaRPr>
          </a:p>
          <a:p>
            <a:r>
              <a:rPr lang="de-DE" sz="1600" b="1" dirty="0">
                <a:solidFill>
                  <a:schemeClr val="accent2"/>
                </a:solidFill>
              </a:rPr>
              <a:t>Attraktivität der Mietflächen </a:t>
            </a:r>
            <a:r>
              <a:rPr lang="de-DE" sz="1600" dirty="0"/>
              <a:t>steigt durch geringere NK, Übereinstimmung NH-Ziele der Mieter </a:t>
            </a:r>
          </a:p>
          <a:p>
            <a:endParaRPr lang="de-DE" sz="1600" dirty="0">
              <a:solidFill>
                <a:schemeClr val="accent2"/>
              </a:solidFill>
            </a:endParaRPr>
          </a:p>
          <a:p>
            <a:r>
              <a:rPr lang="de-DE" sz="1600" b="1" dirty="0">
                <a:solidFill>
                  <a:schemeClr val="accent2"/>
                </a:solidFill>
              </a:rPr>
              <a:t>Risiken werden vermieden </a:t>
            </a:r>
            <a:r>
              <a:rPr lang="de-DE" sz="1600" dirty="0"/>
              <a:t>(Transitionsrisiken: steigender CO</a:t>
            </a:r>
            <a:r>
              <a:rPr lang="de-DE" sz="1600" baseline="-25000" dirty="0"/>
              <a:t>2</a:t>
            </a:r>
            <a:r>
              <a:rPr lang="de-DE" sz="1600" dirty="0"/>
              <a:t> Preis, Reputation, Stranded Asset)</a:t>
            </a:r>
          </a:p>
          <a:p>
            <a:endParaRPr lang="de-DE" sz="1600" dirty="0"/>
          </a:p>
          <a:p>
            <a:r>
              <a:rPr lang="de-DE" sz="1600" dirty="0"/>
              <a:t>Substantieller Beitrag zur </a:t>
            </a:r>
            <a:r>
              <a:rPr lang="de-DE" sz="1600" b="1" dirty="0">
                <a:solidFill>
                  <a:schemeClr val="accent2"/>
                </a:solidFill>
              </a:rPr>
              <a:t>Beschränkung</a:t>
            </a:r>
            <a:r>
              <a:rPr lang="de-DE" sz="1600" dirty="0">
                <a:solidFill>
                  <a:schemeClr val="dk1"/>
                </a:solidFill>
              </a:rPr>
              <a:t> </a:t>
            </a:r>
            <a:r>
              <a:rPr lang="de-DE" sz="1600" dirty="0"/>
              <a:t>des</a:t>
            </a:r>
            <a:r>
              <a:rPr lang="de-DE" sz="1600" dirty="0">
                <a:solidFill>
                  <a:schemeClr val="dk1"/>
                </a:solidFill>
              </a:rPr>
              <a:t> </a:t>
            </a:r>
            <a:r>
              <a:rPr lang="de-DE" sz="1600" b="1" dirty="0">
                <a:solidFill>
                  <a:schemeClr val="accent2"/>
                </a:solidFill>
              </a:rPr>
              <a:t>globalen Temperaturanstiegs</a:t>
            </a:r>
          </a:p>
          <a:p>
            <a:endParaRPr lang="de-DE" sz="1600" dirty="0">
              <a:solidFill>
                <a:schemeClr val="dk1"/>
              </a:solidFill>
            </a:endParaRPr>
          </a:p>
        </p:txBody>
      </p:sp>
      <p:sp>
        <p:nvSpPr>
          <p:cNvPr id="10" name="bestätigen_UI-Blau">
            <a:extLst>
              <a:ext uri="{FF2B5EF4-FFF2-40B4-BE49-F238E27FC236}">
                <a16:creationId xmlns:a16="http://schemas.microsoft.com/office/drawing/2014/main" id="{8FE33687-E201-4F3D-92FE-376780C780F1}"/>
              </a:ext>
            </a:extLst>
          </p:cNvPr>
          <p:cNvSpPr>
            <a:spLocks noChangeAspect="1"/>
          </p:cNvSpPr>
          <p:nvPr>
            <p:custDataLst>
              <p:tags r:id="rId2"/>
            </p:custDataLst>
          </p:nvPr>
        </p:nvSpPr>
        <p:spPr bwMode="gray">
          <a:xfrm>
            <a:off x="4657427" y="3140968"/>
            <a:ext cx="396000" cy="394458"/>
          </a:xfrm>
          <a:custGeom>
            <a:avLst/>
            <a:gdLst>
              <a:gd name="T0" fmla="*/ 2012 w 5736"/>
              <a:gd name="T1" fmla="*/ 5709 h 5709"/>
              <a:gd name="T2" fmla="*/ 1811 w 5736"/>
              <a:gd name="T3" fmla="*/ 5626 h 5709"/>
              <a:gd name="T4" fmla="*/ 110 w 5736"/>
              <a:gd name="T5" fmla="*/ 3925 h 5709"/>
              <a:gd name="T6" fmla="*/ 110 w 5736"/>
              <a:gd name="T7" fmla="*/ 3524 h 5709"/>
              <a:gd name="T8" fmla="*/ 511 w 5736"/>
              <a:gd name="T9" fmla="*/ 3524 h 5709"/>
              <a:gd name="T10" fmla="*/ 1968 w 5736"/>
              <a:gd name="T11" fmla="*/ 4980 h 5709"/>
              <a:gd name="T12" fmla="*/ 5177 w 5736"/>
              <a:gd name="T13" fmla="*/ 166 h 5709"/>
              <a:gd name="T14" fmla="*/ 5570 w 5736"/>
              <a:gd name="T15" fmla="*/ 87 h 5709"/>
              <a:gd name="T16" fmla="*/ 5649 w 5736"/>
              <a:gd name="T17" fmla="*/ 480 h 5709"/>
              <a:gd name="T18" fmla="*/ 2247 w 5736"/>
              <a:gd name="T19" fmla="*/ 5582 h 5709"/>
              <a:gd name="T20" fmla="*/ 2040 w 5736"/>
              <a:gd name="T21" fmla="*/ 5707 h 5709"/>
              <a:gd name="T22" fmla="*/ 2012 w 5736"/>
              <a:gd name="T23" fmla="*/ 5709 h 5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736" h="5709">
                <a:moveTo>
                  <a:pt x="2012" y="5709"/>
                </a:moveTo>
                <a:cubicBezTo>
                  <a:pt x="1937" y="5709"/>
                  <a:pt x="1865" y="5679"/>
                  <a:pt x="1811" y="5626"/>
                </a:cubicBezTo>
                <a:cubicBezTo>
                  <a:pt x="110" y="3925"/>
                  <a:pt x="110" y="3925"/>
                  <a:pt x="110" y="3925"/>
                </a:cubicBezTo>
                <a:cubicBezTo>
                  <a:pt x="0" y="3814"/>
                  <a:pt x="0" y="3635"/>
                  <a:pt x="110" y="3524"/>
                </a:cubicBezTo>
                <a:cubicBezTo>
                  <a:pt x="221" y="3413"/>
                  <a:pt x="401" y="3413"/>
                  <a:pt x="511" y="3524"/>
                </a:cubicBezTo>
                <a:cubicBezTo>
                  <a:pt x="1968" y="4980"/>
                  <a:pt x="1968" y="4980"/>
                  <a:pt x="1968" y="4980"/>
                </a:cubicBezTo>
                <a:cubicBezTo>
                  <a:pt x="5177" y="166"/>
                  <a:pt x="5177" y="166"/>
                  <a:pt x="5177" y="166"/>
                </a:cubicBezTo>
                <a:cubicBezTo>
                  <a:pt x="5264" y="35"/>
                  <a:pt x="5440" y="0"/>
                  <a:pt x="5570" y="87"/>
                </a:cubicBezTo>
                <a:cubicBezTo>
                  <a:pt x="5701" y="174"/>
                  <a:pt x="5736" y="350"/>
                  <a:pt x="5649" y="480"/>
                </a:cubicBezTo>
                <a:cubicBezTo>
                  <a:pt x="2247" y="5582"/>
                  <a:pt x="2247" y="5582"/>
                  <a:pt x="2247" y="5582"/>
                </a:cubicBezTo>
                <a:cubicBezTo>
                  <a:pt x="2200" y="5653"/>
                  <a:pt x="2124" y="5699"/>
                  <a:pt x="2040" y="5707"/>
                </a:cubicBezTo>
                <a:cubicBezTo>
                  <a:pt x="2030" y="5708"/>
                  <a:pt x="2021" y="5709"/>
                  <a:pt x="2012" y="5709"/>
                </a:cubicBezTo>
                <a:close/>
              </a:path>
            </a:pathLst>
          </a:custGeom>
          <a:solidFill>
            <a:srgbClr val="0035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1" name="bestätigen_UI-Blau">
            <a:extLst>
              <a:ext uri="{FF2B5EF4-FFF2-40B4-BE49-F238E27FC236}">
                <a16:creationId xmlns:a16="http://schemas.microsoft.com/office/drawing/2014/main" id="{D7BA2609-FED8-463E-86B0-22898E1F56AE}"/>
              </a:ext>
            </a:extLst>
          </p:cNvPr>
          <p:cNvSpPr>
            <a:spLocks noChangeAspect="1"/>
          </p:cNvSpPr>
          <p:nvPr>
            <p:custDataLst>
              <p:tags r:id="rId3"/>
            </p:custDataLst>
          </p:nvPr>
        </p:nvSpPr>
        <p:spPr bwMode="gray">
          <a:xfrm>
            <a:off x="4657427" y="4518423"/>
            <a:ext cx="396000" cy="394458"/>
          </a:xfrm>
          <a:custGeom>
            <a:avLst/>
            <a:gdLst>
              <a:gd name="T0" fmla="*/ 2012 w 5736"/>
              <a:gd name="T1" fmla="*/ 5709 h 5709"/>
              <a:gd name="T2" fmla="*/ 1811 w 5736"/>
              <a:gd name="T3" fmla="*/ 5626 h 5709"/>
              <a:gd name="T4" fmla="*/ 110 w 5736"/>
              <a:gd name="T5" fmla="*/ 3925 h 5709"/>
              <a:gd name="T6" fmla="*/ 110 w 5736"/>
              <a:gd name="T7" fmla="*/ 3524 h 5709"/>
              <a:gd name="T8" fmla="*/ 511 w 5736"/>
              <a:gd name="T9" fmla="*/ 3524 h 5709"/>
              <a:gd name="T10" fmla="*/ 1968 w 5736"/>
              <a:gd name="T11" fmla="*/ 4980 h 5709"/>
              <a:gd name="T12" fmla="*/ 5177 w 5736"/>
              <a:gd name="T13" fmla="*/ 166 h 5709"/>
              <a:gd name="T14" fmla="*/ 5570 w 5736"/>
              <a:gd name="T15" fmla="*/ 87 h 5709"/>
              <a:gd name="T16" fmla="*/ 5649 w 5736"/>
              <a:gd name="T17" fmla="*/ 480 h 5709"/>
              <a:gd name="T18" fmla="*/ 2247 w 5736"/>
              <a:gd name="T19" fmla="*/ 5582 h 5709"/>
              <a:gd name="T20" fmla="*/ 2040 w 5736"/>
              <a:gd name="T21" fmla="*/ 5707 h 5709"/>
              <a:gd name="T22" fmla="*/ 2012 w 5736"/>
              <a:gd name="T23" fmla="*/ 5709 h 5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736" h="5709">
                <a:moveTo>
                  <a:pt x="2012" y="5709"/>
                </a:moveTo>
                <a:cubicBezTo>
                  <a:pt x="1937" y="5709"/>
                  <a:pt x="1865" y="5679"/>
                  <a:pt x="1811" y="5626"/>
                </a:cubicBezTo>
                <a:cubicBezTo>
                  <a:pt x="110" y="3925"/>
                  <a:pt x="110" y="3925"/>
                  <a:pt x="110" y="3925"/>
                </a:cubicBezTo>
                <a:cubicBezTo>
                  <a:pt x="0" y="3814"/>
                  <a:pt x="0" y="3635"/>
                  <a:pt x="110" y="3524"/>
                </a:cubicBezTo>
                <a:cubicBezTo>
                  <a:pt x="221" y="3413"/>
                  <a:pt x="401" y="3413"/>
                  <a:pt x="511" y="3524"/>
                </a:cubicBezTo>
                <a:cubicBezTo>
                  <a:pt x="1968" y="4980"/>
                  <a:pt x="1968" y="4980"/>
                  <a:pt x="1968" y="4980"/>
                </a:cubicBezTo>
                <a:cubicBezTo>
                  <a:pt x="5177" y="166"/>
                  <a:pt x="5177" y="166"/>
                  <a:pt x="5177" y="166"/>
                </a:cubicBezTo>
                <a:cubicBezTo>
                  <a:pt x="5264" y="35"/>
                  <a:pt x="5440" y="0"/>
                  <a:pt x="5570" y="87"/>
                </a:cubicBezTo>
                <a:cubicBezTo>
                  <a:pt x="5701" y="174"/>
                  <a:pt x="5736" y="350"/>
                  <a:pt x="5649" y="480"/>
                </a:cubicBezTo>
                <a:cubicBezTo>
                  <a:pt x="2247" y="5582"/>
                  <a:pt x="2247" y="5582"/>
                  <a:pt x="2247" y="5582"/>
                </a:cubicBezTo>
                <a:cubicBezTo>
                  <a:pt x="2200" y="5653"/>
                  <a:pt x="2124" y="5699"/>
                  <a:pt x="2040" y="5707"/>
                </a:cubicBezTo>
                <a:cubicBezTo>
                  <a:pt x="2030" y="5708"/>
                  <a:pt x="2021" y="5709"/>
                  <a:pt x="2012" y="5709"/>
                </a:cubicBezTo>
                <a:close/>
              </a:path>
            </a:pathLst>
          </a:custGeom>
          <a:solidFill>
            <a:srgbClr val="0035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sp>
        <p:nvSpPr>
          <p:cNvPr id="12" name="bestätigen_UI-Blau">
            <a:extLst>
              <a:ext uri="{FF2B5EF4-FFF2-40B4-BE49-F238E27FC236}">
                <a16:creationId xmlns:a16="http://schemas.microsoft.com/office/drawing/2014/main" id="{CA26C4E2-D5FD-4BBB-A06B-42FE03EA9D3E}"/>
              </a:ext>
            </a:extLst>
          </p:cNvPr>
          <p:cNvSpPr>
            <a:spLocks noChangeAspect="1"/>
          </p:cNvSpPr>
          <p:nvPr>
            <p:custDataLst>
              <p:tags r:id="rId4"/>
            </p:custDataLst>
          </p:nvPr>
        </p:nvSpPr>
        <p:spPr bwMode="gray">
          <a:xfrm>
            <a:off x="4657427" y="5770846"/>
            <a:ext cx="396000" cy="394458"/>
          </a:xfrm>
          <a:custGeom>
            <a:avLst/>
            <a:gdLst>
              <a:gd name="T0" fmla="*/ 2012 w 5736"/>
              <a:gd name="T1" fmla="*/ 5709 h 5709"/>
              <a:gd name="T2" fmla="*/ 1811 w 5736"/>
              <a:gd name="T3" fmla="*/ 5626 h 5709"/>
              <a:gd name="T4" fmla="*/ 110 w 5736"/>
              <a:gd name="T5" fmla="*/ 3925 h 5709"/>
              <a:gd name="T6" fmla="*/ 110 w 5736"/>
              <a:gd name="T7" fmla="*/ 3524 h 5709"/>
              <a:gd name="T8" fmla="*/ 511 w 5736"/>
              <a:gd name="T9" fmla="*/ 3524 h 5709"/>
              <a:gd name="T10" fmla="*/ 1968 w 5736"/>
              <a:gd name="T11" fmla="*/ 4980 h 5709"/>
              <a:gd name="T12" fmla="*/ 5177 w 5736"/>
              <a:gd name="T13" fmla="*/ 166 h 5709"/>
              <a:gd name="T14" fmla="*/ 5570 w 5736"/>
              <a:gd name="T15" fmla="*/ 87 h 5709"/>
              <a:gd name="T16" fmla="*/ 5649 w 5736"/>
              <a:gd name="T17" fmla="*/ 480 h 5709"/>
              <a:gd name="T18" fmla="*/ 2247 w 5736"/>
              <a:gd name="T19" fmla="*/ 5582 h 5709"/>
              <a:gd name="T20" fmla="*/ 2040 w 5736"/>
              <a:gd name="T21" fmla="*/ 5707 h 5709"/>
              <a:gd name="T22" fmla="*/ 2012 w 5736"/>
              <a:gd name="T23" fmla="*/ 5709 h 570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</a:cxnLst>
            <a:rect l="0" t="0" r="r" b="b"/>
            <a:pathLst>
              <a:path w="5736" h="5709">
                <a:moveTo>
                  <a:pt x="2012" y="5709"/>
                </a:moveTo>
                <a:cubicBezTo>
                  <a:pt x="1937" y="5709"/>
                  <a:pt x="1865" y="5679"/>
                  <a:pt x="1811" y="5626"/>
                </a:cubicBezTo>
                <a:cubicBezTo>
                  <a:pt x="110" y="3925"/>
                  <a:pt x="110" y="3925"/>
                  <a:pt x="110" y="3925"/>
                </a:cubicBezTo>
                <a:cubicBezTo>
                  <a:pt x="0" y="3814"/>
                  <a:pt x="0" y="3635"/>
                  <a:pt x="110" y="3524"/>
                </a:cubicBezTo>
                <a:cubicBezTo>
                  <a:pt x="221" y="3413"/>
                  <a:pt x="401" y="3413"/>
                  <a:pt x="511" y="3524"/>
                </a:cubicBezTo>
                <a:cubicBezTo>
                  <a:pt x="1968" y="4980"/>
                  <a:pt x="1968" y="4980"/>
                  <a:pt x="1968" y="4980"/>
                </a:cubicBezTo>
                <a:cubicBezTo>
                  <a:pt x="5177" y="166"/>
                  <a:pt x="5177" y="166"/>
                  <a:pt x="5177" y="166"/>
                </a:cubicBezTo>
                <a:cubicBezTo>
                  <a:pt x="5264" y="35"/>
                  <a:pt x="5440" y="0"/>
                  <a:pt x="5570" y="87"/>
                </a:cubicBezTo>
                <a:cubicBezTo>
                  <a:pt x="5701" y="174"/>
                  <a:pt x="5736" y="350"/>
                  <a:pt x="5649" y="480"/>
                </a:cubicBezTo>
                <a:cubicBezTo>
                  <a:pt x="2247" y="5582"/>
                  <a:pt x="2247" y="5582"/>
                  <a:pt x="2247" y="5582"/>
                </a:cubicBezTo>
                <a:cubicBezTo>
                  <a:pt x="2200" y="5653"/>
                  <a:pt x="2124" y="5699"/>
                  <a:pt x="2040" y="5707"/>
                </a:cubicBezTo>
                <a:cubicBezTo>
                  <a:pt x="2030" y="5708"/>
                  <a:pt x="2021" y="5709"/>
                  <a:pt x="2012" y="5709"/>
                </a:cubicBezTo>
                <a:close/>
              </a:path>
            </a:pathLst>
          </a:custGeom>
          <a:solidFill>
            <a:srgbClr val="00358E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e-DE" dirty="0"/>
          </a:p>
        </p:txBody>
      </p:sp>
      <p:cxnSp>
        <p:nvCxnSpPr>
          <p:cNvPr id="14" name="Gerader Verbinder 13">
            <a:extLst>
              <a:ext uri="{FF2B5EF4-FFF2-40B4-BE49-F238E27FC236}">
                <a16:creationId xmlns:a16="http://schemas.microsoft.com/office/drawing/2014/main" id="{90E0E4C5-26FA-44D2-A65A-82F39B13A46B}"/>
              </a:ext>
            </a:extLst>
          </p:cNvPr>
          <p:cNvCxnSpPr/>
          <p:nvPr/>
        </p:nvCxnSpPr>
        <p:spPr>
          <a:xfrm>
            <a:off x="409576" y="2780928"/>
            <a:ext cx="4715966" cy="0"/>
          </a:xfrm>
          <a:prstGeom prst="line">
            <a:avLst/>
          </a:prstGeom>
          <a:ln w="9525">
            <a:solidFill>
              <a:srgbClr val="888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Gerader Verbinder 14">
            <a:extLst>
              <a:ext uri="{FF2B5EF4-FFF2-40B4-BE49-F238E27FC236}">
                <a16:creationId xmlns:a16="http://schemas.microsoft.com/office/drawing/2014/main" id="{61AF0302-C11D-465F-8617-64830C2D6DED}"/>
              </a:ext>
            </a:extLst>
          </p:cNvPr>
          <p:cNvCxnSpPr/>
          <p:nvPr/>
        </p:nvCxnSpPr>
        <p:spPr>
          <a:xfrm>
            <a:off x="409576" y="4077072"/>
            <a:ext cx="4715966" cy="0"/>
          </a:xfrm>
          <a:prstGeom prst="line">
            <a:avLst/>
          </a:prstGeom>
          <a:ln w="9525">
            <a:solidFill>
              <a:srgbClr val="888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Gerader Verbinder 15">
            <a:extLst>
              <a:ext uri="{FF2B5EF4-FFF2-40B4-BE49-F238E27FC236}">
                <a16:creationId xmlns:a16="http://schemas.microsoft.com/office/drawing/2014/main" id="{B95BBF60-1899-413B-8CE5-E759C7DB88C9}"/>
              </a:ext>
            </a:extLst>
          </p:cNvPr>
          <p:cNvCxnSpPr/>
          <p:nvPr/>
        </p:nvCxnSpPr>
        <p:spPr>
          <a:xfrm>
            <a:off x="409576" y="5373216"/>
            <a:ext cx="4715966" cy="0"/>
          </a:xfrm>
          <a:prstGeom prst="line">
            <a:avLst/>
          </a:prstGeom>
          <a:ln w="9525">
            <a:solidFill>
              <a:srgbClr val="888888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88581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platzhalter 2">
            <a:extLst>
              <a:ext uri="{FF2B5EF4-FFF2-40B4-BE49-F238E27FC236}">
                <a16:creationId xmlns:a16="http://schemas.microsoft.com/office/drawing/2014/main" id="{13750591-62BC-4751-BA3E-FFC2FCB86BBC}"/>
              </a:ext>
            </a:extLst>
          </p:cNvPr>
          <p:cNvPicPr>
            <a:picLocks noGrp="1" noChangeAspect="1"/>
          </p:cNvPicPr>
          <p:nvPr>
            <p:ph type="pic" sz="quarter" idx="25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510" b="12510"/>
          <a:stretch>
            <a:fillRect/>
          </a:stretch>
        </p:blipFill>
        <p:spPr/>
      </p:pic>
      <p:sp>
        <p:nvSpPr>
          <p:cNvPr id="5" name="Textplatzhalter 4">
            <a:extLst>
              <a:ext uri="{FF2B5EF4-FFF2-40B4-BE49-F238E27FC236}">
                <a16:creationId xmlns:a16="http://schemas.microsoft.com/office/drawing/2014/main" id="{05847285-A2C9-4322-B57C-02A23A539E5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/>
        <p:txBody>
          <a:bodyPr/>
          <a:lstStyle/>
          <a:p>
            <a:r>
              <a:rPr lang="de-DE" dirty="0"/>
              <a:t>Vielen Dank!</a:t>
            </a:r>
          </a:p>
        </p:txBody>
      </p:sp>
    </p:spTree>
    <p:extLst>
      <p:ext uri="{BB962C8B-B14F-4D97-AF65-F5344CB8AC3E}">
        <p14:creationId xmlns:p14="http://schemas.microsoft.com/office/powerpoint/2010/main" val="10964261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HANGETRACKING" val="true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" val="3639"/>
  <p:tag name="MIO_FALLBACK_LAYOUT" val="18"/>
  <p:tag name="MIO_SHOW_DATE" val="True"/>
  <p:tag name="MIO_SHOW_FOOTER" val="True"/>
  <p:tag name="MIO_SHOW_PAGENUMBER" val="True"/>
  <p:tag name="MIO_AVOID_BLANK_LAYOUT" val="True"/>
  <p:tag name="MIO_CD_LAYOUT_VALID_AREA" val="False"/>
  <p:tag name="MIO_NUMBER_OF_VALID_LAYOUTS" val="35"/>
  <p:tag name="MIO_HDS" val="True"/>
  <p:tag name="MIO_SKIPVERSION" val="01.01.0001 00:00:00"/>
  <p:tag name="MIO_EKGUID" val="30386d2a-9af8-4477-936f-285a29f32580"/>
  <p:tag name="MIO_UPDATE" val="True"/>
  <p:tag name="MIO_VERSION" val="08.04.2021 07:29:43"/>
  <p:tag name="MIO_DBID" val="108497A2-9460-4F1F-8F82-399011FBFC80"/>
  <p:tag name="MIO_LASTDOWNLOADED" val="12.04.2021 16:58:56"/>
  <p:tag name="MIO_OBJECTNAME" val="Union Investment Vorlage UI-Blau"/>
  <p:tag name="MIO_CDID" val="f8df07cd-ca2e-4e22-b311-8af9e89b73b7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549c9b39-c82e-4a45-b595-eb12a63a4864"/>
  <p:tag name="MIO_GUID" val="a2e8c860-d2a8-4954-abfc-66dd96ae1fb2"/>
  <p:tag name="MIO_UPDATE" val="True"/>
  <p:tag name="MIO_VERSION" val="01.11.2021 12:07:27"/>
  <p:tag name="MIO_DBID" val="108497A2-9460-4F1F-8F82-399011FBFC80"/>
  <p:tag name="MIO_LASTDOWNLOADED" val="21.09.2022 14:40:48"/>
  <p:tag name="MIO_OBJECTNAME" val="Kran Weiß/UI-Grün"/>
  <p:tag name="MIO_LASTEDITORNAME" val="Sandra Clemens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EKGUID" val="ec85f603-3f55-4add-952a-9efc50fe98f0"/>
  <p:tag name="MIO_GUID" val="ab4d785f-b9e4-481d-aaf7-126583aee0dd"/>
  <p:tag name="MIO_UPDATE" val="True"/>
  <p:tag name="MIO_VERSION" val="29.10.2021 07:16:17"/>
  <p:tag name="MIO_DBID" val="108497A2-9460-4F1F-8F82-399011FBFC80"/>
  <p:tag name="MIO_LASTDOWNLOADED" val="21.09.2022 14:42:38"/>
  <p:tag name="MIO_OBJECTNAME" val="Haus Hochhaus Weiß/UI-Grün"/>
  <p:tag name="MIO_LASTEDITORNAME" val="Sandra Clemens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453db59-be14-46ce-bb6f-43a14f3b7e48"/>
  <p:tag name="MIO_EKGUID" val="259514c8-2a85-4449-a0f9-ed6e1043d6b1"/>
  <p:tag name="MIO_UPDATE" val="True"/>
  <p:tag name="MIO_VERSION" val="03.08.2020 11:54:25"/>
  <p:tag name="MIO_DBID" val="108497A2-9460-4F1F-8F82-399011FBFC80"/>
  <p:tag name="MIO_LASTDOWNLOADED" val="21.09.2022 13:38:25"/>
  <p:tag name="MIO_OBJECTNAME" val="Vor- und Nachteile (02)"/>
  <p:tag name="MIO_LASTEDITORNAME" val="Sandra Clemens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fed872-8cfb-4a65-bb59-38b39f96a11f"/>
  <p:tag name="MIO_EKGUID" val="851f3991-6a3b-417e-b4aa-70d56a06daba"/>
  <p:tag name="MIO_UPDATE" val="True"/>
  <p:tag name="MIO_VERSION" val="06.03.2020 13:57:47"/>
  <p:tag name="MIO_DBID" val="108497A2-9460-4F1F-8F82-399011FBFC80"/>
  <p:tag name="MIO_LASTDOWNLOADED" val="07.08.2020 09:17:08"/>
  <p:tag name="MIO_OBJECTNAME" val="bestätigen_UI-Blau"/>
  <p:tag name="MIO_LASTEDITORNAME" val="Gyrkan Sef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fed872-8cfb-4a65-bb59-38b39f96a11f"/>
  <p:tag name="MIO_EKGUID" val="851f3991-6a3b-417e-b4aa-70d56a06daba"/>
  <p:tag name="MIO_UPDATE" val="True"/>
  <p:tag name="MIO_VERSION" val="06.03.2020 13:57:47"/>
  <p:tag name="MIO_DBID" val="108497A2-9460-4F1F-8F82-399011FBFC80"/>
  <p:tag name="MIO_LASTDOWNLOADED" val="07.08.2020 09:17:08"/>
  <p:tag name="MIO_OBJECTNAME" val="bestätigen_UI-Blau"/>
  <p:tag name="MIO_LASTEDITORNAME" val="Gyrkan Se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fed872-8cfb-4a65-bb59-38b39f96a11f"/>
  <p:tag name="MIO_EKGUID" val="851f3991-6a3b-417e-b4aa-70d56a06daba"/>
  <p:tag name="MIO_UPDATE" val="True"/>
  <p:tag name="MIO_VERSION" val="06.03.2020 13:57:47"/>
  <p:tag name="MIO_DBID" val="108497A2-9460-4F1F-8F82-399011FBFC80"/>
  <p:tag name="MIO_LASTDOWNLOADED" val="07.08.2020 09:17:08"/>
  <p:tag name="MIO_OBJECTNAME" val="bestätigen_UI-Blau"/>
  <p:tag name="MIO_LASTEDITORNAME" val="Gyrkan Sef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GUID" val="25fed872-8cfb-4a65-bb59-38b39f96a11f"/>
  <p:tag name="MIO_EKGUID" val="851f3991-6a3b-417e-b4aa-70d56a06daba"/>
  <p:tag name="MIO_UPDATE" val="True"/>
  <p:tag name="MIO_VERSION" val="06.03.2020 13:57:47"/>
  <p:tag name="MIO_DBID" val="108497A2-9460-4F1F-8F82-399011FBFC80"/>
  <p:tag name="MIO_LASTDOWNLOADED" val="07.08.2020 09:17:08"/>
  <p:tag name="MIO_OBJECTNAME" val="bestätigen_UI-Blau"/>
  <p:tag name="MIO_LASTEDITORNAME" val="Gyrkan Sefa"/>
</p:tagLst>
</file>

<file path=ppt/theme/theme1.xml><?xml version="1.0" encoding="utf-8"?>
<a:theme xmlns:a="http://schemas.openxmlformats.org/drawingml/2006/main" name="Union Investment UI-Blau">
  <a:themeElements>
    <a:clrScheme name="UI 2019">
      <a:dk1>
        <a:sysClr val="windowText" lastClr="000000"/>
      </a:dk1>
      <a:lt1>
        <a:sysClr val="window" lastClr="FFFFFF"/>
      </a:lt1>
      <a:dk2>
        <a:srgbClr val="00358E"/>
      </a:dk2>
      <a:lt2>
        <a:srgbClr val="FFFFFF"/>
      </a:lt2>
      <a:accent1>
        <a:srgbClr val="00358E"/>
      </a:accent1>
      <a:accent2>
        <a:srgbClr val="43B02A"/>
      </a:accent2>
      <a:accent3>
        <a:srgbClr val="C3C3C3"/>
      </a:accent3>
      <a:accent4>
        <a:srgbClr val="008D92"/>
      </a:accent4>
      <a:accent5>
        <a:srgbClr val="FED210"/>
      </a:accent5>
      <a:accent6>
        <a:srgbClr val="1386DD"/>
      </a:accent6>
      <a:hlink>
        <a:srgbClr val="0070C0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E9E9E9"/>
        </a:solidFill>
        <a:ln>
          <a:noFill/>
        </a:ln>
      </a:spPr>
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<a:prstTxWarp prst="textNoShape">
          <a:avLst/>
        </a:prstTxWarp>
        <a:noAutofit/>
      </a:bodyPr>
      <a:lstStyle>
        <a:defPPr marL="0" indent="0" algn="l">
          <a:spcBef>
            <a:spcPts val="600"/>
          </a:spcBef>
          <a:buClr>
            <a:schemeClr val="accent1"/>
          </a:buClr>
          <a:buFontTx/>
          <a:buNone/>
          <a:defRPr sz="1400" dirty="0" err="1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888888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72000" tIns="72000" rIns="72000" bIns="72000" rtlCol="0" anchor="t">
        <a:spAutoFit/>
      </a:bodyPr>
      <a:lstStyle>
        <a:defPPr marL="0" indent="0">
          <a:spcBef>
            <a:spcPts val="600"/>
          </a:spcBef>
          <a:buClr>
            <a:schemeClr val="accent1"/>
          </a:buClr>
          <a:buFontTx/>
          <a:buNone/>
          <a:defRPr sz="1400" dirty="0" err="1"/>
        </a:defPPr>
      </a:lstStyle>
    </a:txDef>
  </a:objectDefaults>
  <a:extraClrSchemeLst/>
  <a:custClrLst>
    <a:custClr>
      <a:srgbClr val="873FD5"/>
    </a:custClr>
    <a:custClr>
      <a:srgbClr val="BAD71C"/>
    </a:custClr>
    <a:custClr>
      <a:srgbClr val="466DAF"/>
    </a:custClr>
    <a:custClr>
      <a:srgbClr val="8ED082"/>
    </a:custClr>
    <a:custClr>
      <a:srgbClr val="888888"/>
    </a:custClr>
    <a:custClr>
      <a:srgbClr val="72B8BC"/>
    </a:custClr>
    <a:custClr>
      <a:srgbClr val="FFFFFF"/>
    </a:custClr>
    <a:custClr>
      <a:srgbClr val="43B02A"/>
    </a:custClr>
    <a:custClr>
      <a:srgbClr val="FED210"/>
    </a:custClr>
    <a:custClr>
      <a:srgbClr val="E42444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FFFFFF"/>
    </a:custClr>
    <a:custClr>
      <a:srgbClr val="E9E9E9"/>
    </a:custClr>
    <a:custClr>
      <a:srgbClr val="C3C3C3"/>
    </a:custClr>
    <a:custClr>
      <a:srgbClr val="C8D5E7"/>
    </a:custClr>
    <a:custClr>
      <a:srgbClr val="99ABD0"/>
    </a:custClr>
  </a:custClrLst>
  <a:extLst>
    <a:ext uri="{05A4C25C-085E-4340-85A3-A5531E510DB2}">
      <thm15:themeFamily xmlns:thm15="http://schemas.microsoft.com/office/thememl/2012/main" name="blank..potx" id="{859E9171-80D8-4CAF-9B3C-4EC19CD57143}" vid="{5E0A3ED2-26D1-4820-96BB-DF625F7415DD}"/>
    </a:ext>
  </a:extLst>
</a:theme>
</file>

<file path=ppt/theme/theme2.xml><?xml version="1.0" encoding="utf-8"?>
<a:theme xmlns:a="http://schemas.openxmlformats.org/drawingml/2006/main" name="Office">
  <a:themeElements>
    <a:clrScheme name="UI 2019">
      <a:dk1>
        <a:sysClr val="windowText" lastClr="000000"/>
      </a:dk1>
      <a:lt1>
        <a:sysClr val="window" lastClr="FFFFFF"/>
      </a:lt1>
      <a:dk2>
        <a:srgbClr val="00358E"/>
      </a:dk2>
      <a:lt2>
        <a:srgbClr val="FFFFFF"/>
      </a:lt2>
      <a:accent1>
        <a:srgbClr val="00358E"/>
      </a:accent1>
      <a:accent2>
        <a:srgbClr val="43B02A"/>
      </a:accent2>
      <a:accent3>
        <a:srgbClr val="C3C3C3"/>
      </a:accent3>
      <a:accent4>
        <a:srgbClr val="008D92"/>
      </a:accent4>
      <a:accent5>
        <a:srgbClr val="FED210"/>
      </a:accent5>
      <a:accent6>
        <a:srgbClr val="1386DD"/>
      </a:accent6>
      <a:hlink>
        <a:srgbClr val="0070C0"/>
      </a:hlink>
      <a:folHlink>
        <a:srgbClr val="7030A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UI 2019">
      <a:dk1>
        <a:sysClr val="windowText" lastClr="000000"/>
      </a:dk1>
      <a:lt1>
        <a:sysClr val="window" lastClr="FFFFFF"/>
      </a:lt1>
      <a:dk2>
        <a:srgbClr val="00358E"/>
      </a:dk2>
      <a:lt2>
        <a:srgbClr val="FFFFFF"/>
      </a:lt2>
      <a:accent1>
        <a:srgbClr val="00358E"/>
      </a:accent1>
      <a:accent2>
        <a:srgbClr val="43B02A"/>
      </a:accent2>
      <a:accent3>
        <a:srgbClr val="C3C3C3"/>
      </a:accent3>
      <a:accent4>
        <a:srgbClr val="008D92"/>
      </a:accent4>
      <a:accent5>
        <a:srgbClr val="FED210"/>
      </a:accent5>
      <a:accent6>
        <a:srgbClr val="1386DD"/>
      </a:accent6>
      <a:hlink>
        <a:srgbClr val="0070C0"/>
      </a:hlink>
      <a:folHlink>
        <a:srgbClr val="7030A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51373a3a-5534-44cd-b3ce-70ba5f7e6bbf" xsi:nil="true"/>
    <lcf76f155ced4ddcb4097134ff3c332f xmlns="8c9f844c-f3c5-46b6-9dd8-82ec398c132d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674581DDBF46F4E9DF31C225BFBC6D5" ma:contentTypeVersion="16" ma:contentTypeDescription="Ein neues Dokument erstellen." ma:contentTypeScope="" ma:versionID="2b0bb6d9e047993073200d441efe77cf">
  <xsd:schema xmlns:xsd="http://www.w3.org/2001/XMLSchema" xmlns:xs="http://www.w3.org/2001/XMLSchema" xmlns:p="http://schemas.microsoft.com/office/2006/metadata/properties" xmlns:ns2="8c9f844c-f3c5-46b6-9dd8-82ec398c132d" xmlns:ns3="51373a3a-5534-44cd-b3ce-70ba5f7e6bbf" targetNamespace="http://schemas.microsoft.com/office/2006/metadata/properties" ma:root="true" ma:fieldsID="2706b9d4918fb25d86c9799d2f5aa311" ns2:_="" ns3:_="">
    <xsd:import namespace="8c9f844c-f3c5-46b6-9dd8-82ec398c132d"/>
    <xsd:import namespace="51373a3a-5534-44cd-b3ce-70ba5f7e6bb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ServiceLocation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c9f844c-f3c5-46b6-9dd8-82ec398c132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Bildmarkierungen" ma:readOnly="false" ma:fieldId="{5cf76f15-5ced-4ddc-b409-7134ff3c332f}" ma:taxonomyMulti="true" ma:sspId="1389e4f4-2936-4b5e-b2ad-d68e6cfe5c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1373a3a-5534-44cd-b3ce-70ba5f7e6bbf" elementFormDefault="qualified">
    <xsd:import namespace="http://schemas.microsoft.com/office/2006/documentManagement/types"/>
    <xsd:import namespace="http://schemas.microsoft.com/office/infopath/2007/PartnerControls"/>
    <xsd:element name="SharedWithUsers" ma:index="1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1f29185-2797-4c8d-a7e1-4059bdc68081}" ma:internalName="TaxCatchAll" ma:showField="CatchAllData" ma:web="51373a3a-5534-44cd-b3ce-70ba5f7e6bbf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A407F4F-C87B-4E7F-850D-F61D5C3B5FE9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958BAC3-57CC-45FB-B0A0-25A4B2E94811}">
  <ds:schemaRefs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www.w3.org/XML/1998/namespace"/>
    <ds:schemaRef ds:uri="http://purl.org/dc/terms/"/>
    <ds:schemaRef ds:uri="http://purl.org/dc/elements/1.1/"/>
    <ds:schemaRef ds:uri="http://schemas.openxmlformats.org/package/2006/metadata/core-properties"/>
    <ds:schemaRef ds:uri="8c5781d6-20a7-4b72-93b1-65ad62ca5ced"/>
    <ds:schemaRef ds:uri="http://purl.org/dc/dcmitype/"/>
  </ds:schemaRefs>
</ds:datastoreItem>
</file>

<file path=customXml/itemProps3.xml><?xml version="1.0" encoding="utf-8"?>
<ds:datastoreItem xmlns:ds="http://schemas.openxmlformats.org/officeDocument/2006/customXml" ds:itemID="{522D12D4-653C-45DA-AC45-9856FBB8D859}"/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09</Words>
  <Application>Microsoft Office PowerPoint</Application>
  <PresentationFormat>Benutzerdefiniert</PresentationFormat>
  <Paragraphs>78</Paragraphs>
  <Slides>7</Slides>
  <Notes>3</Notes>
  <HiddenSlides>0</HiddenSlides>
  <MMClips>0</MMClips>
  <ScaleCrop>false</ScaleCrop>
  <HeadingPairs>
    <vt:vector size="6" baseType="variant">
      <vt:variant>
        <vt:lpstr>Verwendete Schriftarten</vt:lpstr>
      </vt:variant>
      <vt:variant>
        <vt:i4>4</vt:i4>
      </vt:variant>
      <vt:variant>
        <vt:lpstr>Design</vt:lpstr>
      </vt:variant>
      <vt:variant>
        <vt:i4>1</vt:i4>
      </vt:variant>
      <vt:variant>
        <vt:lpstr>Folientitel</vt:lpstr>
      </vt:variant>
      <vt:variant>
        <vt:i4>7</vt:i4>
      </vt:variant>
    </vt:vector>
  </HeadingPairs>
  <TitlesOfParts>
    <vt:vector size="12" baseType="lpstr">
      <vt:lpstr>Arial</vt:lpstr>
      <vt:lpstr>Calibri</vt:lpstr>
      <vt:lpstr>Symbol</vt:lpstr>
      <vt:lpstr>Wingdings</vt:lpstr>
      <vt:lpstr>Union Investment UI-Blau</vt:lpstr>
      <vt:lpstr>PowerPoint-Präsentation</vt:lpstr>
      <vt:lpstr>Themen Finanzanlage und Nachhaltigkeit sind für Menschen wichtig</vt:lpstr>
      <vt:lpstr>Nachhaltigkeit ist regulatorisch gesetz(t)!</vt:lpstr>
      <vt:lpstr>Neubau ist keine Alternative – der Bestand ist die Lösung!</vt:lpstr>
      <vt:lpstr>Was sind erste Lösungen und wo muss noch nachgebessert werden?</vt:lpstr>
      <vt:lpstr>Vieles spricht für Berücksich-tigung in der Bewertung</vt:lpstr>
      <vt:lpstr>PowerPoint-Prä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Köllner, Carolin (UIR)</dc:creator>
  <cp:lastModifiedBy>von Mallinckrodt, Jan (UIR)</cp:lastModifiedBy>
  <cp:revision>44</cp:revision>
  <cp:lastPrinted>2019-11-08T08:25:16Z</cp:lastPrinted>
  <dcterms:created xsi:type="dcterms:W3CDTF">2022-05-05T08:39:04Z</dcterms:created>
  <dcterms:modified xsi:type="dcterms:W3CDTF">2022-09-21T15:07:5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9CC4AE21938F8B4B8BBE4DF6483FC6BF</vt:lpwstr>
  </property>
  <property fmtid="{D5CDD505-2E9C-101B-9397-08002B2CF9AE}" pid="3" name="UIT_DocumentType">
    <vt:lpwstr/>
  </property>
  <property fmtid="{D5CDD505-2E9C-101B-9397-08002B2CF9AE}" pid="4" name="UIT_Keywords">
    <vt:lpwstr/>
  </property>
  <property fmtid="{D5CDD505-2E9C-101B-9397-08002B2CF9AE}" pid="5" name="UIT_Confidentiality">
    <vt:lpwstr>1;#C1|21a0c8e3-ddb0-46ee-ba05-3f67ebc4c672</vt:lpwstr>
  </property>
  <property fmtid="{D5CDD505-2E9C-101B-9397-08002B2CF9AE}" pid="6" name="UIT_Context">
    <vt:lpwstr/>
  </property>
  <property fmtid="{D5CDD505-2E9C-101B-9397-08002B2CF9AE}" pid="7" name="MediaServiceImageTags">
    <vt:lpwstr/>
  </property>
</Properties>
</file>